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4"/>
  </p:sldMasterIdLst>
  <p:notesMasterIdLst>
    <p:notesMasterId r:id="rId21"/>
  </p:notesMasterIdLst>
  <p:sldIdLst>
    <p:sldId id="4191" r:id="rId5"/>
    <p:sldId id="4219" r:id="rId6"/>
    <p:sldId id="4220" r:id="rId7"/>
    <p:sldId id="4228" r:id="rId8"/>
    <p:sldId id="4221" r:id="rId9"/>
    <p:sldId id="4222" r:id="rId10"/>
    <p:sldId id="4223" r:id="rId11"/>
    <p:sldId id="4229" r:id="rId12"/>
    <p:sldId id="4218" r:id="rId13"/>
    <p:sldId id="4225" r:id="rId14"/>
    <p:sldId id="4215" r:id="rId15"/>
    <p:sldId id="4226" r:id="rId16"/>
    <p:sldId id="4211" r:id="rId17"/>
    <p:sldId id="4212" r:id="rId18"/>
    <p:sldId id="4227" r:id="rId19"/>
    <p:sldId id="2720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A361CD5-08A3-450D-8217-D90FA92734AC}">
          <p14:sldIdLst>
            <p14:sldId id="4191"/>
            <p14:sldId id="4219"/>
            <p14:sldId id="4220"/>
            <p14:sldId id="4228"/>
            <p14:sldId id="4221"/>
            <p14:sldId id="4222"/>
            <p14:sldId id="4223"/>
            <p14:sldId id="4229"/>
            <p14:sldId id="4218"/>
            <p14:sldId id="4225"/>
            <p14:sldId id="4215"/>
            <p14:sldId id="4226"/>
            <p14:sldId id="4211"/>
            <p14:sldId id="4212"/>
            <p14:sldId id="4227"/>
            <p14:sldId id="2720"/>
          </p14:sldIdLst>
        </p14:section>
      </p14:sectionLst>
    </p:ext>
    <p:ext uri="{EFAFB233-063F-42B5-8137-9DF3F51BA10A}">
      <p15:sldGuideLst xmlns:p15="http://schemas.microsoft.com/office/powerpoint/2012/main">
        <p15:guide id="12" pos="405" userDrawn="1">
          <p15:clr>
            <a:srgbClr val="A4A3A4"/>
          </p15:clr>
        </p15:guide>
        <p15:guide id="14" orient="horz" pos="888" userDrawn="1">
          <p15:clr>
            <a:srgbClr val="A4A3A4"/>
          </p15:clr>
        </p15:guide>
        <p15:guide id="17" orient="horz" pos="530" userDrawn="1">
          <p15:clr>
            <a:srgbClr val="A4A3A4"/>
          </p15:clr>
        </p15:guide>
        <p15:guide id="18" orient="horz" pos="342" userDrawn="1">
          <p15:clr>
            <a:srgbClr val="A4A3A4"/>
          </p15:clr>
        </p15:guide>
        <p15:guide id="19" orient="horz" pos="816" userDrawn="1">
          <p15:clr>
            <a:srgbClr val="A4A3A4"/>
          </p15:clr>
        </p15:guide>
        <p15:guide id="20" orient="horz" pos="2712" userDrawn="1">
          <p15:clr>
            <a:srgbClr val="A4A3A4"/>
          </p15:clr>
        </p15:guide>
        <p15:guide id="21" orient="horz" pos="31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A032704-418E-7728-149B-7568E8C6C08C}" name="Alanna Kahhan" initials="AK" userId="S::Alanna.Kahhan@lumanity.com::f243da5a-107a-4ffb-a0c5-a89ae1ec74c2" providerId="AD"/>
  <p188:author id="{0950281C-639D-0D68-168D-47891D86321F}" name="Mary Beth Woodin" initials="MW" userId="S::mwoodin@modernatx.com::75df0396-564c-4166-9c1c-ff8539f90153" providerId="AD"/>
  <p188:author id="{BC6D1D34-B9F2-D369-DA37-9204D3247592}" name="Robert Meehan" initials="RM" userId="S::rmeehan@modernatx.com::d8e3d3e6-f4b2-492c-b1f7-a5a26163b67e" providerId="AD"/>
  <p188:author id="{6060A444-4006-E1C0-CDF2-6C439A89D4EC}" name="April Healy" initials="AH" userId="S::ahealy@modernatx.com::779cc2a2-316d-4371-b082-92b7194a310a" providerId="AD"/>
  <p188:author id="{99169249-7D8A-0855-0DEF-6401003165E5}" name="Lisa" initials="L" userId="S::lshannon@medergygroup.com::11f618c4-2417-4ae2-8cb3-6c1b47f523e5" providerId="AD"/>
  <p188:author id="{0117A167-290F-E989-2E59-B24843E760D4}" name="Lisa Shannon" initials="LS" userId="S::Lisa.Shannon@lumanity.com::f6590de2-a68b-4112-b5a0-8da245158977" providerId="AD"/>
  <p188:author id="{BEA58379-894B-8B78-B4D9-0B8F3862BDBF}" name="Maria Smith-Brown" initials="MS" userId="S::Maria.Smith-Brown@lumanity.com::904f399a-5c1b-4ab5-bc27-9c21bef7f097" providerId="AD"/>
  <p188:author id="{27AABC82-0B7D-BEA4-CD78-D9108A054C82}" name="Peijie Hou" initials="PH" userId="S::phou@modernatx.com::4b508cef-ee0b-444e-826f-0b683c92f2cc" providerId="AD"/>
  <p188:author id="{AB78EC93-0E50-E4F9-DBAF-CFDFC243A8C8}" name="Michelle Brown" initials="MB" userId="S::mbrown1@modernatx.com::e23115e4-6836-4fa6-be5d-406cfdc02fa6" providerId="AD"/>
  <p188:author id="{A39F099C-5229-809D-2562-B04AF89B6BFB}" name="Annie Finkenbinder Best" initials="AFB" userId="S::afinkenbinderbest@modernatx.com::800f47fa-8d5e-4153-8892-7bc824fbdcdb" providerId="AD"/>
  <p188:author id="{031234B1-684A-91EE-3CBD-6F3420E853B9}" name="Anuj Walia" initials="AW" userId="S::awalia@modernatx.com::33d39ba2-2e0d-4998-a3ea-754c1756adde" providerId="AD"/>
  <p188:author id="{76606EB8-375D-D0F4-E171-84F01F4BDEE7}" name="Jessica Swanner" initials="JS" userId="S::Jessica.Swanner@lumanity.com::8cd14ff2-9796-45ca-a382-e216a30e256c" providerId="AD"/>
  <p188:author id="{8F8135C1-E29D-91F1-B699-B7202A6B10C6}" name="Greg Rossino" initials="GR" userId="S::grossino@modernatx.com::a5059727-a19e-4c8a-bf94-b19b48c800a5" providerId="AD"/>
  <p188:author id="{268CC3C8-6A34-5551-143E-ECF131530536}" name="Manju Morrissey" initials="MM" userId="S::mmorrissey@modernatx.com::15ce5696-8ed4-4f20-9a29-26b4137284a2" providerId="AD"/>
  <p188:author id="{806A63D5-439C-7FD5-B828-0DE36B3BE0AE}" name="Kimberly Dittmar (PhD, CMPP)" initials="KD(C" userId="S::Kimberly.Dittmar@lumanity.com::45ab7344-a28a-47e2-82f0-c9b286fffa58" providerId="AD"/>
  <p188:author id="{5D0713E8-00C7-3DEF-431C-BE30274A62AC}" name="Matt Clark (TBWAWH)" initials="MC(" userId="S::matt.clark@tbwaworldhealth.com::d2c4f6ea-4e9d-4dbb-9b10-7f2ccd2c40b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557"/>
    <a:srgbClr val="70AD47"/>
    <a:srgbClr val="4D4D4F"/>
    <a:srgbClr val="E31837"/>
    <a:srgbClr val="BFE6F6"/>
    <a:srgbClr val="25AAE1"/>
    <a:srgbClr val="59CBE8"/>
    <a:srgbClr val="23ABE2"/>
    <a:srgbClr val="CFD5EA"/>
    <a:srgbClr val="0087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pos="405"/>
        <p:guide orient="horz" pos="888"/>
        <p:guide orient="horz" pos="530"/>
        <p:guide orient="horz" pos="342"/>
        <p:guide orient="horz" pos="816"/>
        <p:guide orient="horz" pos="2712"/>
        <p:guide orient="horz" pos="313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870432515985388"/>
          <c:y val="4.6850427824806994E-2"/>
          <c:w val="0.87058128147719327"/>
          <c:h val="0.7748905154112063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Sheet1!$B$2:$B$4</c:f>
              <c:numCache>
                <c:formatCode>General</c:formatCode>
                <c:ptCount val="3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1C2-492A-89A6-5817FAC249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6176448"/>
        <c:axId val="190525664"/>
      </c:scatterChart>
      <c:valAx>
        <c:axId val="1246176448"/>
        <c:scaling>
          <c:orientation val="minMax"/>
          <c:max val="180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ime From First Dose of Pembrolizumab (weeks)</a:t>
                </a:r>
              </a:p>
            </c:rich>
          </c:tx>
          <c:layout>
            <c:manualLayout>
              <c:xMode val="edge"/>
              <c:yMode val="edge"/>
              <c:x val="0.32840409745335525"/>
              <c:y val="0.9122900912440360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0525664"/>
        <c:crosses val="autoZero"/>
        <c:crossBetween val="midCat"/>
        <c:minorUnit val="2"/>
      </c:valAx>
      <c:valAx>
        <c:axId val="190525664"/>
        <c:scaling>
          <c:orientation val="minMax"/>
          <c:max val="11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FS (%)</a:t>
                </a:r>
              </a:p>
            </c:rich>
          </c:tx>
          <c:layout>
            <c:manualLayout>
              <c:xMode val="edge"/>
              <c:yMode val="edge"/>
              <c:x val="3.5059578790191989E-2"/>
              <c:y val="0.372713436317601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4617644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870432515985388"/>
          <c:y val="4.6850427824806994E-2"/>
          <c:w val="0.87058128147719327"/>
          <c:h val="0.774890637612118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Sheet1!$B$2:$B$4</c:f>
              <c:numCache>
                <c:formatCode>General</c:formatCode>
                <c:ptCount val="3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9F4-457A-A0B1-E2C77039BB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6176448"/>
        <c:axId val="190525664"/>
      </c:scatterChart>
      <c:valAx>
        <c:axId val="1246176448"/>
        <c:scaling>
          <c:orientation val="minMax"/>
          <c:max val="180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ime From First Dose of Pembrolizumab (weeks)</a:t>
                </a:r>
              </a:p>
            </c:rich>
          </c:tx>
          <c:layout>
            <c:manualLayout>
              <c:xMode val="edge"/>
              <c:yMode val="edge"/>
              <c:x val="0.32078749293564929"/>
              <c:y val="0.9188257177417300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0525664"/>
        <c:crosses val="autoZero"/>
        <c:crossBetween val="midCat"/>
        <c:minorUnit val="2"/>
      </c:valAx>
      <c:valAx>
        <c:axId val="190525664"/>
        <c:scaling>
          <c:orientation val="minMax"/>
          <c:max val="11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MFS (%)</a:t>
                </a:r>
              </a:p>
            </c:rich>
          </c:tx>
          <c:layout>
            <c:manualLayout>
              <c:xMode val="edge"/>
              <c:yMode val="edge"/>
              <c:x val="3.5059570443496287E-2"/>
              <c:y val="0.356374332896509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4617644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702572264603523E-2"/>
          <c:y val="5.5389790780011897E-2"/>
          <c:w val="0.88897545225981811"/>
          <c:h val="0.76401252139486264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Sheet1!$B$2:$B$4</c:f>
              <c:numCache>
                <c:formatCode>General</c:formatCode>
                <c:ptCount val="3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D94-4DD1-834B-FB11DFE9EB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6176448"/>
        <c:axId val="190525664"/>
      </c:scatterChart>
      <c:valAx>
        <c:axId val="1246176448"/>
        <c:scaling>
          <c:orientation val="minMax"/>
          <c:max val="180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ime From First Dose of Pembrolizumab (weeks)</a:t>
                </a:r>
              </a:p>
            </c:rich>
          </c:tx>
          <c:layout>
            <c:manualLayout>
              <c:xMode val="edge"/>
              <c:yMode val="edge"/>
              <c:x val="0.32780159849390145"/>
              <c:y val="0.7524315171763791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0525664"/>
        <c:crosses val="autoZero"/>
        <c:crossBetween val="midCat"/>
        <c:minorUnit val="2"/>
      </c:valAx>
      <c:valAx>
        <c:axId val="190525664"/>
        <c:scaling>
          <c:orientation val="minMax"/>
          <c:max val="11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MFS (%)</a:t>
                </a:r>
              </a:p>
            </c:rich>
          </c:tx>
          <c:layout>
            <c:manualLayout>
              <c:xMode val="edge"/>
              <c:yMode val="edge"/>
              <c:x val="5.629033035971496E-3"/>
              <c:y val="0.3563743442014442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4617644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FD0A6A-574B-7049-9ECB-99A70EE972FD}" type="datetimeFigureOut">
              <a:rPr lang="en-US" smtClean="0"/>
              <a:t>5/2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410250-12C2-244C-99A7-2191988922A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170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410250-12C2-244C-99A7-2191988922A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1697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Trend for improved DMFS was shown in ctDNA-negative patients at baseline treated with mRNA-4157 (V940) and pembrolizumab compared to pembrolizumab monothera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067913-78B6-4271-AF93-B9BF7B4C28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12369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Safety and Tolerability Reflects Individual Components with Infrequent Additional Clinically Significant Adverse Events Over Pembro monotherapy - mo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410250-12C2-244C-99A7-2191988922A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3242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Safety and Tolerability Reflects Individual Components with Infrequent Additional Clinically Significant Adverse Events Over Pembro monothera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410250-12C2-244C-99A7-2191988922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102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410250-12C2-244C-99A7-2191988922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8435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urable Benefit From Checkpoint Inhibitors Suggests Long-term Efficacy Against Microscopic Disease and Detectable Metastases</a:t>
            </a:r>
            <a:r>
              <a:rPr lang="en-US" baseline="30000" dirty="0"/>
              <a:t>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410250-12C2-244C-99A7-2191988922A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1172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410250-12C2-244C-99A7-2191988922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40356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410250-12C2-244C-99A7-2191988922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052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410250-12C2-244C-99A7-2191988922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0167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ffectLst/>
                <a:latin typeface="+mj-lt"/>
              </a:rPr>
              <a:t>Significant improvement was shown in RFS with mRNA-4157 (V940) + pembrolizumab versus pembrolizumab ​monotherap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410250-12C2-244C-99A7-2191988922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4735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ffectLst/>
                <a:latin typeface="+mj-lt"/>
              </a:rPr>
              <a:t>Significant</a:t>
            </a:r>
            <a:r>
              <a:rPr lang="en-US" sz="1200" dirty="0">
                <a:effectLst/>
                <a:latin typeface="Segoe UI" panose="020B0502040204020203" pitchFamily="34" charset="0"/>
              </a:rPr>
              <a:t> improvement was shown in DMFS</a:t>
            </a:r>
            <a:r>
              <a:rPr lang="en-US" sz="1200" baseline="30000" dirty="0">
                <a:effectLst/>
                <a:latin typeface="Segoe UI" panose="020B0502040204020203" pitchFamily="34" charset="0"/>
              </a:rPr>
              <a:t>a</a:t>
            </a:r>
            <a:r>
              <a:rPr lang="en-US" sz="1200" dirty="0">
                <a:effectLst/>
                <a:latin typeface="Segoe UI" panose="020B0502040204020203" pitchFamily="34" charset="0"/>
              </a:rPr>
              <a:t> with mRNA-4157 (V940) + pembrolizumab versus pembrolizumab monotherapy​</a:t>
            </a:r>
            <a:endParaRPr lang="en-US" sz="1200" dirty="0">
              <a:effectLst/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410250-12C2-244C-99A7-2191988922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9402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410250-12C2-244C-99A7-2191988922A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1170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effectLst/>
                <a:latin typeface="Century Gothic"/>
              </a:rPr>
              <a:t>Longitudinal Pattern of Distant </a:t>
            </a:r>
            <a:r>
              <a:rPr lang="en-US" sz="1200" dirty="0">
                <a:latin typeface="Century Gothic"/>
              </a:rPr>
              <a:t>M</a:t>
            </a:r>
            <a:r>
              <a:rPr lang="en-US" sz="1200" dirty="0">
                <a:effectLst/>
                <a:latin typeface="Century Gothic"/>
              </a:rPr>
              <a:t>etastatic </a:t>
            </a:r>
            <a:r>
              <a:rPr lang="en-US" sz="1200" dirty="0">
                <a:latin typeface="Century Gothic"/>
              </a:rPr>
              <a:t>R</a:t>
            </a:r>
            <a:r>
              <a:rPr lang="en-US" sz="1200" dirty="0">
                <a:effectLst/>
                <a:latin typeface="Century Gothic"/>
              </a:rPr>
              <a:t>ecurrence and Death S</a:t>
            </a:r>
            <a:r>
              <a:rPr lang="en-US" sz="1200" dirty="0">
                <a:latin typeface="Century Gothic"/>
              </a:rPr>
              <a:t>uggests</a:t>
            </a:r>
            <a:r>
              <a:rPr lang="en-US" sz="1200" dirty="0">
                <a:effectLst/>
                <a:latin typeface="Century Gothic"/>
              </a:rPr>
              <a:t> mRNA-4157 (V940) + Pembrolizumab </a:t>
            </a:r>
            <a:r>
              <a:rPr lang="en-US" sz="1200" dirty="0">
                <a:latin typeface="Century Gothic"/>
              </a:rPr>
              <a:t>R</a:t>
            </a:r>
            <a:r>
              <a:rPr lang="en-US" sz="1200" dirty="0">
                <a:effectLst/>
                <a:latin typeface="Century Gothic"/>
              </a:rPr>
              <a:t>educes </a:t>
            </a:r>
            <a:r>
              <a:rPr lang="en-US" sz="1200" dirty="0">
                <a:latin typeface="Century Gothic"/>
              </a:rPr>
              <a:t>R</a:t>
            </a:r>
            <a:r>
              <a:rPr lang="en-US" sz="1200" dirty="0">
                <a:effectLst/>
                <a:latin typeface="Century Gothic"/>
              </a:rPr>
              <a:t>isk </a:t>
            </a:r>
            <a:r>
              <a:rPr lang="en-US" sz="1200" dirty="0">
                <a:latin typeface="Century Gothic"/>
              </a:rPr>
              <a:t>D</a:t>
            </a:r>
            <a:r>
              <a:rPr lang="en-US" sz="1200" dirty="0">
                <a:effectLst/>
                <a:latin typeface="Century Gothic"/>
              </a:rPr>
              <a:t>uring and After </a:t>
            </a:r>
            <a:r>
              <a:rPr lang="en-US" sz="1200" dirty="0">
                <a:latin typeface="Century Gothic"/>
              </a:rPr>
              <a:t>T</a:t>
            </a:r>
            <a:r>
              <a:rPr lang="en-US" sz="1200" dirty="0">
                <a:effectLst/>
                <a:latin typeface="Century Gothic"/>
              </a:rPr>
              <a:t>reatment </a:t>
            </a:r>
            <a:r>
              <a:rPr lang="en-US" sz="1200" dirty="0">
                <a:latin typeface="Century Gothic"/>
              </a:rPr>
              <a:t>C</a:t>
            </a:r>
            <a:r>
              <a:rPr lang="en-US" sz="1200" dirty="0">
                <a:effectLst/>
                <a:latin typeface="Century Gothic"/>
              </a:rPr>
              <a:t>ompletion </a:t>
            </a:r>
            <a:r>
              <a:rPr lang="en-US" sz="1200" dirty="0">
                <a:latin typeface="Century Gothic"/>
              </a:rPr>
              <a:t>C</a:t>
            </a:r>
            <a:r>
              <a:rPr lang="en-US" sz="1200" dirty="0">
                <a:effectLst/>
                <a:latin typeface="Century Gothic"/>
              </a:rPr>
              <a:t>ompared to Pembrolizumab </a:t>
            </a:r>
            <a:r>
              <a:rPr lang="en-US" sz="1200" dirty="0">
                <a:latin typeface="Century Gothic"/>
              </a:rPr>
              <a:t>monothera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410250-12C2-244C-99A7-2191988922A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685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1"/>
            <a:ext cx="10972800" cy="1673170"/>
          </a:xfrm>
        </p:spPr>
        <p:txBody>
          <a:bodyPr lIns="0" anchor="ctr">
            <a:noAutofit/>
          </a:bodyPr>
          <a:lstStyle>
            <a:lvl1pPr algn="l">
              <a:defRPr sz="38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429001"/>
            <a:ext cx="10972800" cy="769260"/>
          </a:xfrm>
        </p:spPr>
        <p:txBody>
          <a:bodyPr lIns="0" anchor="ctr">
            <a:noAutofit/>
          </a:bodyPr>
          <a:lstStyle>
            <a:lvl1pPr marL="0" indent="0" algn="l">
              <a:buNone/>
              <a:defRPr sz="1400" b="1">
                <a:solidFill>
                  <a:srgbClr val="00255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4398662"/>
            <a:ext cx="10972800" cy="1140738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1050">
                <a:solidFill>
                  <a:srgbClr val="002557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1" y="490957"/>
            <a:ext cx="2233782" cy="632905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7D14182-7338-E24A-A336-65D15A265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58591144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40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B67DAE-E1EF-8040-9240-16BFD8EDA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1239773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584437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78" y="1828799"/>
            <a:ext cx="5257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EDC700B4-D5CA-048C-525C-B2EF5F2EED8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55080" y="1828799"/>
            <a:ext cx="5257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9360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32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/3 2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78" y="1828799"/>
            <a:ext cx="27432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EDC700B4-D5CA-048C-525C-B2EF5F2EED8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12333" y="1828799"/>
            <a:ext cx="8000547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716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3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544211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0609FE5-2F18-684C-97F3-2F85F052D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539441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E7D2D6-7C48-4E81-B298-73268FCAC58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40080" y="392283"/>
            <a:ext cx="10972800" cy="6438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2BD162-260B-459B-AFCC-55DA16A1361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0080" y="1825625"/>
            <a:ext cx="10972800" cy="402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608DB3-8625-42CD-B269-7A764B719C7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83564" y="217034"/>
            <a:ext cx="87448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2823C6C-73E3-42A3-83A3-6A4C934D233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" y="6238560"/>
            <a:ext cx="12198050" cy="6289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84D898-A908-4F9B-8BFC-D0A350053FE5}"/>
              </a:ext>
            </a:extLst>
          </p:cNvPr>
          <p:cNvSpPr txBox="1"/>
          <p:nvPr userDrawn="1"/>
        </p:nvSpPr>
        <p:spPr>
          <a:xfrm>
            <a:off x="2659934" y="6446454"/>
            <a:ext cx="69654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dirty="0">
                <a:solidFill>
                  <a:srgbClr val="002557"/>
                </a:solidFill>
              </a:rPr>
              <a:t>PRESENTED BY:</a:t>
            </a:r>
          </a:p>
        </p:txBody>
      </p:sp>
    </p:spTree>
    <p:extLst>
      <p:ext uri="{BB962C8B-B14F-4D97-AF65-F5344CB8AC3E}">
        <p14:creationId xmlns:p14="http://schemas.microsoft.com/office/powerpoint/2010/main" val="2518209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6" r:id="rId2"/>
    <p:sldLayoutId id="2147483685" r:id="rId3"/>
    <p:sldLayoutId id="2147483689" r:id="rId4"/>
    <p:sldLayoutId id="2147483690" r:id="rId5"/>
    <p:sldLayoutId id="2147483688" r:id="rId6"/>
    <p:sldLayoutId id="2147483687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00255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rgbClr val="008764"/>
        </a:buClr>
        <a:buFont typeface="Arial" panose="020B0604020202020204" pitchFamily="34" charset="0"/>
        <a:buChar char="•"/>
        <a:defRPr lang="en-US" sz="20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Wingdings" panose="05000000000000000000" pitchFamily="2" charset="2"/>
        <a:buChar char="§"/>
        <a:defRPr lang="en-US" sz="20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Courier New" panose="02070309020205020404" pitchFamily="49" charset="0"/>
        <a:buChar char="o"/>
        <a:defRPr lang="en-US" sz="16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Arial" panose="020B0604020202020204" pitchFamily="34" charset="0"/>
        <a:buChar char="•"/>
        <a:defRPr lang="en-US" sz="16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Arial" panose="020B0604020202020204" pitchFamily="34" charset="0"/>
        <a:buChar char="•"/>
        <a:defRPr lang="en-US" sz="16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27468A-3F01-5FB7-572F-1806A61D35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" imgH="635" progId="TCLayout.ActiveDocument.1">
                  <p:embed/>
                </p:oleObj>
              </mc:Choice>
              <mc:Fallback>
                <p:oleObj name="think-cell Slide" r:id="rId5" imgW="635" imgH="63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27468A-3F01-5FB7-572F-1806A61D3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A3CC3A-3FBD-4C56-A345-C858F349D1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2938" y="1485900"/>
            <a:ext cx="10956362" cy="1676401"/>
          </a:xfrm>
        </p:spPr>
        <p:txBody>
          <a:bodyPr vert="horz" lIns="0" anchor="ctr">
            <a:noAutofit/>
          </a:bodyPr>
          <a:lstStyle/>
          <a:p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istant Metastasis-Free Survival Results From </a:t>
            </a: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Randomized, Phase 2 mRNA-4157-P201/</a:t>
            </a: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EYNOTE-942 Trial</a:t>
            </a:r>
            <a:endParaRPr lang="en-US" sz="3800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806F942-606D-525F-7411-E92AD33CF223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642938" y="3352492"/>
            <a:ext cx="10956362" cy="954107"/>
          </a:xfrm>
          <a:prstGeom prst="rect">
            <a:avLst/>
          </a:prstGeom>
          <a:noFill/>
        </p:spPr>
        <p:txBody>
          <a:bodyPr wrap="square" l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76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Adnan Khattak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,2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Jeffrey S. Weber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Tarek Meniawy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4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Matthew H. Taylor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5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George Ansstas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6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Kevin B. Kim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7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Meredith McKean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8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b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Georgina V. Long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9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Ryan J. Sullivan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0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Mark B. Faries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1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Thuy Tran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2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C. Lance Cowey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3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Theresa M. Medina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4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Jennifer M. Segar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5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b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Victoria Atkinson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6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Geoffrey T. Gibney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7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Jason J. Luke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8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Elizabeth I. Buchbinder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19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Robert S. Meehan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20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Matteo S. Carlino,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9,21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Moderna Author's Group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20</a:t>
            </a:r>
            <a:endParaRPr kumimoji="0" lang="en-US" sz="1350" b="1" i="0" u="sng" strike="noStrike" kern="1200" cap="none" spc="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6F7BAB-5EFF-AB97-00E6-EA8E1F9A1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2938" y="4398663"/>
            <a:ext cx="10956362" cy="1373868"/>
          </a:xfrm>
        </p:spPr>
        <p:txBody>
          <a:bodyPr lIns="0">
            <a:noAutofit/>
          </a:bodyPr>
          <a:lstStyle/>
          <a:p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Hollywood Private Hospital, Nedlands, Australi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Edith Cowan University, Perth, Australi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NYU Langone Medical Center, New York, NY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Saint John of God Subiaco Hospital, Subiaco, Australi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Earle A. Chiles Research Institute, Portland, OR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Washington University School of Medicine, St Louis, MO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California Pacific Medical Center Research Institute, Oakland, CA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Sarah Cannon Research Institute, Nashville, TN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9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Melanoma Institute Australia, Wollstonecraft, Australi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Massachusetts General Hospital, Boston, MA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1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The Angeles Clinic and Research Institute, Los Angeles, CA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2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Yale-New Haven Hospital, New Haven, CT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3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Baylor Charles A. Sammons Cancer Center, Dallas, TX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4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University of Colorado, Aurora, CO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5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The University of Arizona Cancer Center, Tucson, AZ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Princess Alexandra Hospital, Woolloongabba, Australi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7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Lombardi Cancer Center, Washington, DC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8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UPMC Hillman Cancer Center, Pittsburg, PA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19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Dana-Farber Cancer Institute, Boston, MA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Moderna Inc., Cambridge, MA, USA; </a:t>
            </a:r>
            <a:r>
              <a:rPr lang="en-US" sz="1050" baseline="30000" dirty="0">
                <a:ea typeface="Calibri" panose="020F0502020204030204" pitchFamily="34" charset="0"/>
                <a:cs typeface="Calibri" panose="020F0502020204030204" pitchFamily="34" charset="0"/>
              </a:rPr>
              <a:t>21</a:t>
            </a:r>
            <a:r>
              <a:rPr lang="en-US" sz="1050" dirty="0">
                <a:ea typeface="Calibri" panose="020F0502020204030204" pitchFamily="34" charset="0"/>
                <a:cs typeface="Calibri" panose="020F0502020204030204" pitchFamily="34" charset="0"/>
              </a:rPr>
              <a:t>Westmead Hospital, Westmead, Australia. </a:t>
            </a:r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BCD0A13-78FF-1200-4534-578C2538E7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8" name="Subtitle 6">
            <a:extLst>
              <a:ext uri="{FF2B5EF4-FFF2-40B4-BE49-F238E27FC236}">
                <a16:creationId xmlns:a16="http://schemas.microsoft.com/office/drawing/2014/main" id="{78F776E0-0F42-6763-F155-9CC48CACB1F5}"/>
              </a:ext>
            </a:extLst>
          </p:cNvPr>
          <p:cNvSpPr txBox="1">
            <a:spLocks/>
          </p:cNvSpPr>
          <p:nvPr/>
        </p:nvSpPr>
        <p:spPr>
          <a:xfrm>
            <a:off x="642938" y="5838337"/>
            <a:ext cx="10956362" cy="261610"/>
          </a:xfrm>
          <a:prstGeom prst="rect">
            <a:avLst/>
          </a:prstGeom>
          <a:noFill/>
        </p:spPr>
        <p:txBody>
          <a:bodyPr vert="horz" wrap="square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8764"/>
              </a:buClr>
              <a:buFont typeface="Arial" panose="020B0604020202020204" pitchFamily="34" charset="0"/>
              <a:buNone/>
              <a:defRPr lang="en-US" sz="28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None/>
              <a:defRPr lang="en-US" sz="20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None/>
              <a:defRPr lang="en-US" sz="18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None/>
              <a:defRPr lang="en-US" sz="16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None/>
              <a:defRPr lang="en-US" sz="16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ponsored by Moderna, Inc., in collaboration with Merck Sharp &amp; Dohme LLC, a subsidiary of Merck &amp; Co., Inc., Rahway, NJ, USA.</a:t>
            </a:r>
          </a:p>
        </p:txBody>
      </p:sp>
    </p:spTree>
    <p:extLst>
      <p:ext uri="{BB962C8B-B14F-4D97-AF65-F5344CB8AC3E}">
        <p14:creationId xmlns:p14="http://schemas.microsoft.com/office/powerpoint/2010/main" val="34903954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5255B4-94BE-2C15-3887-BE90C4E234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56" name="Slide Number Placeholder 55">
            <a:extLst>
              <a:ext uri="{FF2B5EF4-FFF2-40B4-BE49-F238E27FC236}">
                <a16:creationId xmlns:a16="http://schemas.microsoft.com/office/drawing/2014/main" id="{F337BBF0-31A7-AC93-3EBC-92A5D325D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33F7A0-71F0-446B-9DE8-6D75BE64EE0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52C5F41-E5FD-1FE1-F3F8-07FE66D92C68}"/>
              </a:ext>
            </a:extLst>
          </p:cNvPr>
          <p:cNvSpPr txBox="1"/>
          <p:nvPr/>
        </p:nvSpPr>
        <p:spPr>
          <a:xfrm>
            <a:off x="583199" y="5945202"/>
            <a:ext cx="11374851" cy="307777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tDNA was NE at baseline for 20.4% (32/157) patients from this study due to unavailability of the sample at baseline (mRNA-4157 (V940) + pembrolizumab, n = 15; pembrolizumab monotherapy, n = 14) or insufficient number of RaDaR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ariants identified by WES (quality control </a:t>
            </a: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g: mRNA-4157 (V940) + pembrolizumab, n = 2; pembrolizumab monotherapy, n = 1). Results limited by small sample size and event number. ctDNA, circulating tumor DNA. </a:t>
            </a:r>
          </a:p>
        </p:txBody>
      </p:sp>
      <p:graphicFrame>
        <p:nvGraphicFramePr>
          <p:cNvPr id="286" name="Table 69">
            <a:extLst>
              <a:ext uri="{FF2B5EF4-FFF2-40B4-BE49-F238E27FC236}">
                <a16:creationId xmlns:a16="http://schemas.microsoft.com/office/drawing/2014/main" id="{99F84A94-5DC5-4DF6-154C-F8E1CD61F3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782851"/>
              </p:ext>
            </p:extLst>
          </p:nvPr>
        </p:nvGraphicFramePr>
        <p:xfrm>
          <a:off x="3229916" y="4900904"/>
          <a:ext cx="6219937" cy="918940"/>
        </p:xfrm>
        <a:graphic>
          <a:graphicData uri="http://schemas.openxmlformats.org/drawingml/2006/table">
            <a:tbl>
              <a:tblPr firstRow="1" bandRow="1"/>
              <a:tblGrid>
                <a:gridCol w="1133776">
                  <a:extLst>
                    <a:ext uri="{9D8B030D-6E8A-4147-A177-3AD203B41FA5}">
                      <a16:colId xmlns:a16="http://schemas.microsoft.com/office/drawing/2014/main" val="3755775968"/>
                    </a:ext>
                  </a:extLst>
                </a:gridCol>
                <a:gridCol w="1879716">
                  <a:extLst>
                    <a:ext uri="{9D8B030D-6E8A-4147-A177-3AD203B41FA5}">
                      <a16:colId xmlns:a16="http://schemas.microsoft.com/office/drawing/2014/main" val="3244896206"/>
                    </a:ext>
                  </a:extLst>
                </a:gridCol>
                <a:gridCol w="1891146">
                  <a:extLst>
                    <a:ext uri="{9D8B030D-6E8A-4147-A177-3AD203B41FA5}">
                      <a16:colId xmlns:a16="http://schemas.microsoft.com/office/drawing/2014/main" val="2819127635"/>
                    </a:ext>
                  </a:extLst>
                </a:gridCol>
                <a:gridCol w="1315299">
                  <a:extLst>
                    <a:ext uri="{9D8B030D-6E8A-4147-A177-3AD203B41FA5}">
                      <a16:colId xmlns:a16="http://schemas.microsoft.com/office/drawing/2014/main" val="2931889099"/>
                    </a:ext>
                  </a:extLst>
                </a:gridCol>
              </a:tblGrid>
              <a:tr h="3921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endParaRPr lang="en-US" sz="900" dirty="0">
                        <a:latin typeface="+mn-lt"/>
                      </a:endParaRPr>
                    </a:p>
                  </a:txBody>
                  <a:tcPr marT="27432" marB="27432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n-lt"/>
                        </a:rPr>
                        <a:t>mRNA-4157 (V940) + pembro vs pembr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n-lt"/>
                        </a:rPr>
                        <a:t>HR (95% CI)</a:t>
                      </a:r>
                      <a:r>
                        <a:rPr lang="en-US" sz="900" b="1" baseline="30000" dirty="0">
                          <a:latin typeface="+mn-lt"/>
                        </a:rPr>
                        <a:t>a</a:t>
                      </a:r>
                      <a:endParaRPr lang="en-US" sz="900" b="1" dirty="0">
                        <a:latin typeface="+mn-lt"/>
                        <a:cs typeface="Helvetica"/>
                      </a:endParaRPr>
                    </a:p>
                  </a:txBody>
                  <a:tcPr marT="27432" marB="27432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n-lt"/>
                        </a:rPr>
                        <a:t>mRNA-4157 (V940) + pembro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n-lt"/>
                        </a:rPr>
                        <a:t>Events, % (n/N)</a:t>
                      </a:r>
                      <a:endParaRPr lang="en-US" sz="900" b="1" dirty="0">
                        <a:latin typeface="+mn-lt"/>
                        <a:cs typeface="Helvetica"/>
                      </a:endParaRPr>
                    </a:p>
                  </a:txBody>
                  <a:tcPr marT="27432" marB="27432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n-lt"/>
                        </a:rPr>
                        <a:t>pembro </a:t>
                      </a:r>
                      <a:br>
                        <a:rPr lang="en-US" sz="900" b="1" dirty="0">
                          <a:latin typeface="+mn-lt"/>
                        </a:rPr>
                      </a:br>
                      <a:r>
                        <a:rPr lang="en-US" sz="900" b="1" dirty="0">
                          <a:latin typeface="+mn-lt"/>
                        </a:rPr>
                        <a:t>Events, % (n/N)</a:t>
                      </a:r>
                      <a:endParaRPr lang="en-US" sz="900" b="1" dirty="0">
                        <a:latin typeface="+mn-lt"/>
                        <a:cs typeface="Helvetica"/>
                      </a:endParaRPr>
                    </a:p>
                  </a:txBody>
                  <a:tcPr marT="27432" marB="27432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6245364"/>
                  </a:ext>
                </a:extLst>
              </a:tr>
              <a:tr h="2605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  <a:cs typeface="Helvetica"/>
                        </a:rPr>
                        <a:t>ctDNA-neg</a:t>
                      </a: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0.048 (0.006, 0.380)</a:t>
                      </a: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1.3 (1/77)</a:t>
                      </a: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27.3 (9/33)</a:t>
                      </a: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1368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900" b="1" spc="-10" dirty="0">
                          <a:solidFill>
                            <a:schemeClr val="tx1"/>
                          </a:solidFill>
                          <a:latin typeface="+mn-lt"/>
                        </a:rPr>
                        <a:t>ctDNA-pos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  <a:cs typeface="Helvetica"/>
                        </a:rPr>
                        <a:t>NE</a:t>
                      </a: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900" b="0" spc="-10" dirty="0">
                          <a:solidFill>
                            <a:schemeClr val="tx1"/>
                          </a:solidFill>
                          <a:latin typeface="+mn-lt"/>
                        </a:rPr>
                        <a:t>61.5 (8/13)</a:t>
                      </a:r>
                      <a:endParaRPr lang="en-US" sz="900" b="0" dirty="0"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E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900" b="0" spc="-10" dirty="0">
                          <a:solidFill>
                            <a:schemeClr val="tx1"/>
                          </a:solidFill>
                          <a:latin typeface="+mn-lt"/>
                        </a:rPr>
                        <a:t>100 (2/2)</a:t>
                      </a:r>
                      <a:endParaRPr lang="en-US" sz="900" b="0" dirty="0"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E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207882"/>
                  </a:ext>
                </a:extLst>
              </a:tr>
            </a:tbl>
          </a:graphicData>
        </a:graphic>
      </p:graphicFrame>
      <p:sp>
        <p:nvSpPr>
          <p:cNvPr id="333" name="Rectangle 332">
            <a:extLst>
              <a:ext uri="{FF2B5EF4-FFF2-40B4-BE49-F238E27FC236}">
                <a16:creationId xmlns:a16="http://schemas.microsoft.com/office/drawing/2014/main" id="{632E041E-8D10-98D7-408D-7DABD4D609E2}"/>
              </a:ext>
            </a:extLst>
          </p:cNvPr>
          <p:cNvSpPr/>
          <p:nvPr/>
        </p:nvSpPr>
        <p:spPr>
          <a:xfrm>
            <a:off x="9171519" y="3118830"/>
            <a:ext cx="1825482" cy="49153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31CAB81-47BA-9D39-0274-FEB4C801E8CF}"/>
              </a:ext>
            </a:extLst>
          </p:cNvPr>
          <p:cNvGrpSpPr/>
          <p:nvPr/>
        </p:nvGrpSpPr>
        <p:grpSpPr>
          <a:xfrm>
            <a:off x="-509392" y="502649"/>
            <a:ext cx="11675044" cy="4371452"/>
            <a:chOff x="-528417" y="849134"/>
            <a:chExt cx="11675044" cy="4371452"/>
          </a:xfrm>
        </p:grpSpPr>
        <p:sp>
          <p:nvSpPr>
            <p:cNvPr id="325" name="object 65">
              <a:extLst>
                <a:ext uri="{FF2B5EF4-FFF2-40B4-BE49-F238E27FC236}">
                  <a16:creationId xmlns:a16="http://schemas.microsoft.com/office/drawing/2014/main" id="{035C10EA-3C2F-5271-9D6F-3A8DE6698CC0}"/>
                </a:ext>
              </a:extLst>
            </p:cNvPr>
            <p:cNvSpPr txBox="1"/>
            <p:nvPr/>
          </p:nvSpPr>
          <p:spPr>
            <a:xfrm>
              <a:off x="-528417" y="4553878"/>
              <a:ext cx="3101579" cy="13913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r" defTabSz="914400" rtl="0" eaLnBrk="1" fontAlgn="auto" latinLnBrk="0" hangingPunct="1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ctDNA-neg: mRNA−4157 (V940) + pembrolizumab</a:t>
              </a:r>
            </a:p>
          </p:txBody>
        </p:sp>
        <p:sp>
          <p:nvSpPr>
            <p:cNvPr id="329" name="object 65">
              <a:extLst>
                <a:ext uri="{FF2B5EF4-FFF2-40B4-BE49-F238E27FC236}">
                  <a16:creationId xmlns:a16="http://schemas.microsoft.com/office/drawing/2014/main" id="{277C6933-8066-4DBD-D9A1-1D0BFD1B3648}"/>
                </a:ext>
              </a:extLst>
            </p:cNvPr>
            <p:cNvSpPr txBox="1"/>
            <p:nvPr/>
          </p:nvSpPr>
          <p:spPr>
            <a:xfrm>
              <a:off x="-498378" y="4882294"/>
              <a:ext cx="3071539" cy="13913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r" defTabSz="914400" rtl="0" eaLnBrk="1" fontAlgn="auto" latinLnBrk="0" hangingPunct="1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ctDNA-pos: mRNA−4157 (V940) + pembrolizumab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69FD13F-804B-9840-9C00-8C099F7A5DEE}"/>
                </a:ext>
              </a:extLst>
            </p:cNvPr>
            <p:cNvGrpSpPr/>
            <p:nvPr/>
          </p:nvGrpSpPr>
          <p:grpSpPr>
            <a:xfrm>
              <a:off x="480458" y="4304770"/>
              <a:ext cx="9180449" cy="915816"/>
              <a:chOff x="480458" y="4304770"/>
              <a:chExt cx="9180449" cy="915816"/>
            </a:xfrm>
          </p:grpSpPr>
          <p:sp>
            <p:nvSpPr>
              <p:cNvPr id="287" name="object 41">
                <a:extLst>
                  <a:ext uri="{FF2B5EF4-FFF2-40B4-BE49-F238E27FC236}">
                    <a16:creationId xmlns:a16="http://schemas.microsoft.com/office/drawing/2014/main" id="{76F721B3-909E-9340-C526-D4E739ADAD95}"/>
                  </a:ext>
                </a:extLst>
              </p:cNvPr>
              <p:cNvSpPr txBox="1"/>
              <p:nvPr/>
            </p:nvSpPr>
            <p:spPr>
              <a:xfrm>
                <a:off x="2980819" y="4700542"/>
                <a:ext cx="335317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33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88" name="object 50">
                <a:extLst>
                  <a:ext uri="{FF2B5EF4-FFF2-40B4-BE49-F238E27FC236}">
                    <a16:creationId xmlns:a16="http://schemas.microsoft.com/office/drawing/2014/main" id="{FFD2BD1D-F01A-D400-2499-28B8E600D7F3}"/>
                  </a:ext>
                </a:extLst>
              </p:cNvPr>
              <p:cNvSpPr txBox="1"/>
              <p:nvPr/>
            </p:nvSpPr>
            <p:spPr>
              <a:xfrm>
                <a:off x="3032036" y="4541511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77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89" name="object 41">
                <a:extLst>
                  <a:ext uri="{FF2B5EF4-FFF2-40B4-BE49-F238E27FC236}">
                    <a16:creationId xmlns:a16="http://schemas.microsoft.com/office/drawing/2014/main" id="{28986959-6CB8-B38E-6F92-1083D10385AD}"/>
                  </a:ext>
                </a:extLst>
              </p:cNvPr>
              <p:cNvSpPr txBox="1"/>
              <p:nvPr/>
            </p:nvSpPr>
            <p:spPr>
              <a:xfrm>
                <a:off x="2980819" y="5056712"/>
                <a:ext cx="335317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2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0" name="object 50">
                <a:extLst>
                  <a:ext uri="{FF2B5EF4-FFF2-40B4-BE49-F238E27FC236}">
                    <a16:creationId xmlns:a16="http://schemas.microsoft.com/office/drawing/2014/main" id="{FB2D8B2F-94DC-7096-1709-AF0D0434E548}"/>
                  </a:ext>
                </a:extLst>
              </p:cNvPr>
              <p:cNvSpPr txBox="1"/>
              <p:nvPr/>
            </p:nvSpPr>
            <p:spPr>
              <a:xfrm>
                <a:off x="3032036" y="4869926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13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1" name="object 42">
                <a:extLst>
                  <a:ext uri="{FF2B5EF4-FFF2-40B4-BE49-F238E27FC236}">
                    <a16:creationId xmlns:a16="http://schemas.microsoft.com/office/drawing/2014/main" id="{76E381C0-D696-FAD1-8572-685466A3A767}"/>
                  </a:ext>
                </a:extLst>
              </p:cNvPr>
              <p:cNvSpPr txBox="1"/>
              <p:nvPr/>
            </p:nvSpPr>
            <p:spPr>
              <a:xfrm>
                <a:off x="3824366" y="470054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3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2" name="object 51">
                <a:extLst>
                  <a:ext uri="{FF2B5EF4-FFF2-40B4-BE49-F238E27FC236}">
                    <a16:creationId xmlns:a16="http://schemas.microsoft.com/office/drawing/2014/main" id="{EEB690DE-85D7-1742-174F-788A101E8B41}"/>
                  </a:ext>
                </a:extLst>
              </p:cNvPr>
              <p:cNvSpPr txBox="1"/>
              <p:nvPr/>
            </p:nvSpPr>
            <p:spPr>
              <a:xfrm>
                <a:off x="3824366" y="4541511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73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3" name="object 42">
                <a:extLst>
                  <a:ext uri="{FF2B5EF4-FFF2-40B4-BE49-F238E27FC236}">
                    <a16:creationId xmlns:a16="http://schemas.microsoft.com/office/drawing/2014/main" id="{62C96A30-BB8D-B432-B6F8-7885C5137625}"/>
                  </a:ext>
                </a:extLst>
              </p:cNvPr>
              <p:cNvSpPr txBox="1"/>
              <p:nvPr/>
            </p:nvSpPr>
            <p:spPr>
              <a:xfrm>
                <a:off x="3824366" y="505671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4" name="object 51">
                <a:extLst>
                  <a:ext uri="{FF2B5EF4-FFF2-40B4-BE49-F238E27FC236}">
                    <a16:creationId xmlns:a16="http://schemas.microsoft.com/office/drawing/2014/main" id="{239DB548-D529-3577-A52F-1E9D3AEDF74B}"/>
                  </a:ext>
                </a:extLst>
              </p:cNvPr>
              <p:cNvSpPr txBox="1"/>
              <p:nvPr/>
            </p:nvSpPr>
            <p:spPr>
              <a:xfrm>
                <a:off x="3824366" y="4869926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8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5" name="object 43">
                <a:extLst>
                  <a:ext uri="{FF2B5EF4-FFF2-40B4-BE49-F238E27FC236}">
                    <a16:creationId xmlns:a16="http://schemas.microsoft.com/office/drawing/2014/main" id="{16FC8489-B6A4-05F0-15F0-5C67AC973CC0}"/>
                  </a:ext>
                </a:extLst>
              </p:cNvPr>
              <p:cNvSpPr txBox="1"/>
              <p:nvPr/>
            </p:nvSpPr>
            <p:spPr>
              <a:xfrm>
                <a:off x="4626860" y="470054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28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6" name="object 52">
                <a:extLst>
                  <a:ext uri="{FF2B5EF4-FFF2-40B4-BE49-F238E27FC236}">
                    <a16:creationId xmlns:a16="http://schemas.microsoft.com/office/drawing/2014/main" id="{AAD59E45-5E82-965E-784C-08BCE0CD6CE3}"/>
                  </a:ext>
                </a:extLst>
              </p:cNvPr>
              <p:cNvSpPr txBox="1"/>
              <p:nvPr/>
            </p:nvSpPr>
            <p:spPr>
              <a:xfrm>
                <a:off x="4626860" y="4541511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69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7" name="object 43">
                <a:extLst>
                  <a:ext uri="{FF2B5EF4-FFF2-40B4-BE49-F238E27FC236}">
                    <a16:creationId xmlns:a16="http://schemas.microsoft.com/office/drawing/2014/main" id="{C23809CE-E141-7EB1-2971-6B70EC3CB6A7}"/>
                  </a:ext>
                </a:extLst>
              </p:cNvPr>
              <p:cNvSpPr txBox="1"/>
              <p:nvPr/>
            </p:nvSpPr>
            <p:spPr>
              <a:xfrm>
                <a:off x="4626860" y="505671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8" name="object 52">
                <a:extLst>
                  <a:ext uri="{FF2B5EF4-FFF2-40B4-BE49-F238E27FC236}">
                    <a16:creationId xmlns:a16="http://schemas.microsoft.com/office/drawing/2014/main" id="{DAA7A8C8-04FB-F5CE-FDEB-A74945BD9F59}"/>
                  </a:ext>
                </a:extLst>
              </p:cNvPr>
              <p:cNvSpPr txBox="1"/>
              <p:nvPr/>
            </p:nvSpPr>
            <p:spPr>
              <a:xfrm>
                <a:off x="4626860" y="4869926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6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299" name="object 44">
                <a:extLst>
                  <a:ext uri="{FF2B5EF4-FFF2-40B4-BE49-F238E27FC236}">
                    <a16:creationId xmlns:a16="http://schemas.microsoft.com/office/drawing/2014/main" id="{EBE7FE17-E62D-B447-EAAF-8D1AC1180CD1}"/>
                  </a:ext>
                </a:extLst>
              </p:cNvPr>
              <p:cNvSpPr txBox="1"/>
              <p:nvPr/>
            </p:nvSpPr>
            <p:spPr>
              <a:xfrm>
                <a:off x="5415773" y="470054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26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0" name="object 53">
                <a:extLst>
                  <a:ext uri="{FF2B5EF4-FFF2-40B4-BE49-F238E27FC236}">
                    <a16:creationId xmlns:a16="http://schemas.microsoft.com/office/drawing/2014/main" id="{31A10D0D-5EB5-FBF8-0E48-F38AE9E29F8B}"/>
                  </a:ext>
                </a:extLst>
              </p:cNvPr>
              <p:cNvSpPr txBox="1"/>
              <p:nvPr/>
            </p:nvSpPr>
            <p:spPr>
              <a:xfrm>
                <a:off x="5415773" y="4541511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57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1" name="object 44">
                <a:extLst>
                  <a:ext uri="{FF2B5EF4-FFF2-40B4-BE49-F238E27FC236}">
                    <a16:creationId xmlns:a16="http://schemas.microsoft.com/office/drawing/2014/main" id="{8EDCE1E1-AD15-77AF-F34A-BD8D5733AC5D}"/>
                  </a:ext>
                </a:extLst>
              </p:cNvPr>
              <p:cNvSpPr txBox="1"/>
              <p:nvPr/>
            </p:nvSpPr>
            <p:spPr>
              <a:xfrm>
                <a:off x="5415773" y="505671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2" name="object 53">
                <a:extLst>
                  <a:ext uri="{FF2B5EF4-FFF2-40B4-BE49-F238E27FC236}">
                    <a16:creationId xmlns:a16="http://schemas.microsoft.com/office/drawing/2014/main" id="{3F439261-E14E-898A-59AA-4221F53EF381}"/>
                  </a:ext>
                </a:extLst>
              </p:cNvPr>
              <p:cNvSpPr txBox="1"/>
              <p:nvPr/>
            </p:nvSpPr>
            <p:spPr>
              <a:xfrm>
                <a:off x="5415773" y="4869926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5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3" name="object 45">
                <a:extLst>
                  <a:ext uri="{FF2B5EF4-FFF2-40B4-BE49-F238E27FC236}">
                    <a16:creationId xmlns:a16="http://schemas.microsoft.com/office/drawing/2014/main" id="{5DA0BBF7-5238-C898-B6A1-7634D463443C}"/>
                  </a:ext>
                </a:extLst>
              </p:cNvPr>
              <p:cNvSpPr txBox="1"/>
              <p:nvPr/>
            </p:nvSpPr>
            <p:spPr>
              <a:xfrm>
                <a:off x="6217852" y="470054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18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4" name="object 54">
                <a:extLst>
                  <a:ext uri="{FF2B5EF4-FFF2-40B4-BE49-F238E27FC236}">
                    <a16:creationId xmlns:a16="http://schemas.microsoft.com/office/drawing/2014/main" id="{FA847788-6EA3-545E-BFE3-14E27BFCC1C1}"/>
                  </a:ext>
                </a:extLst>
              </p:cNvPr>
              <p:cNvSpPr txBox="1"/>
              <p:nvPr/>
            </p:nvSpPr>
            <p:spPr>
              <a:xfrm>
                <a:off x="6217852" y="4541511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38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5" name="object 45">
                <a:extLst>
                  <a:ext uri="{FF2B5EF4-FFF2-40B4-BE49-F238E27FC236}">
                    <a16:creationId xmlns:a16="http://schemas.microsoft.com/office/drawing/2014/main" id="{7B78E787-D494-E2D5-81AA-B79DF3613340}"/>
                  </a:ext>
                </a:extLst>
              </p:cNvPr>
              <p:cNvSpPr txBox="1"/>
              <p:nvPr/>
            </p:nvSpPr>
            <p:spPr>
              <a:xfrm>
                <a:off x="6217852" y="505671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6" name="object 54">
                <a:extLst>
                  <a:ext uri="{FF2B5EF4-FFF2-40B4-BE49-F238E27FC236}">
                    <a16:creationId xmlns:a16="http://schemas.microsoft.com/office/drawing/2014/main" id="{72E04FE3-5267-4973-FAAE-33056DFAA33C}"/>
                  </a:ext>
                </a:extLst>
              </p:cNvPr>
              <p:cNvSpPr txBox="1"/>
              <p:nvPr/>
            </p:nvSpPr>
            <p:spPr>
              <a:xfrm>
                <a:off x="6217852" y="4869926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3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7" name="object 46">
                <a:extLst>
                  <a:ext uri="{FF2B5EF4-FFF2-40B4-BE49-F238E27FC236}">
                    <a16:creationId xmlns:a16="http://schemas.microsoft.com/office/drawing/2014/main" id="{5843282E-3C83-7354-5460-AA9AD9E0C50F}"/>
                  </a:ext>
                </a:extLst>
              </p:cNvPr>
              <p:cNvSpPr txBox="1"/>
              <p:nvPr/>
            </p:nvSpPr>
            <p:spPr>
              <a:xfrm>
                <a:off x="7021935" y="470054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7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8" name="object 55">
                <a:extLst>
                  <a:ext uri="{FF2B5EF4-FFF2-40B4-BE49-F238E27FC236}">
                    <a16:creationId xmlns:a16="http://schemas.microsoft.com/office/drawing/2014/main" id="{7528CB9B-DEAC-FF3A-D7F5-8F3E5163737C}"/>
                  </a:ext>
                </a:extLst>
              </p:cNvPr>
              <p:cNvSpPr txBox="1"/>
              <p:nvPr/>
            </p:nvSpPr>
            <p:spPr>
              <a:xfrm>
                <a:off x="7021935" y="4541511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18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09" name="object 46">
                <a:extLst>
                  <a:ext uri="{FF2B5EF4-FFF2-40B4-BE49-F238E27FC236}">
                    <a16:creationId xmlns:a16="http://schemas.microsoft.com/office/drawing/2014/main" id="{EEAF32C5-4A95-80E4-5912-44D1BF5F2E8D}"/>
                  </a:ext>
                </a:extLst>
              </p:cNvPr>
              <p:cNvSpPr txBox="1"/>
              <p:nvPr/>
            </p:nvSpPr>
            <p:spPr>
              <a:xfrm>
                <a:off x="7021935" y="505671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10" name="object 55">
                <a:extLst>
                  <a:ext uri="{FF2B5EF4-FFF2-40B4-BE49-F238E27FC236}">
                    <a16:creationId xmlns:a16="http://schemas.microsoft.com/office/drawing/2014/main" id="{512FABC4-E50F-CF28-1A73-AAAC3C790DF7}"/>
                  </a:ext>
                </a:extLst>
              </p:cNvPr>
              <p:cNvSpPr txBox="1"/>
              <p:nvPr/>
            </p:nvSpPr>
            <p:spPr>
              <a:xfrm>
                <a:off x="7021935" y="4869926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1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11" name="object 47">
                <a:extLst>
                  <a:ext uri="{FF2B5EF4-FFF2-40B4-BE49-F238E27FC236}">
                    <a16:creationId xmlns:a16="http://schemas.microsoft.com/office/drawing/2014/main" id="{F0E0FC20-1B59-44C9-1C3E-8208B0576A3C}"/>
                  </a:ext>
                </a:extLst>
              </p:cNvPr>
              <p:cNvSpPr txBox="1"/>
              <p:nvPr/>
            </p:nvSpPr>
            <p:spPr>
              <a:xfrm>
                <a:off x="7813740" y="470054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4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12" name="object 56">
                <a:extLst>
                  <a:ext uri="{FF2B5EF4-FFF2-40B4-BE49-F238E27FC236}">
                    <a16:creationId xmlns:a16="http://schemas.microsoft.com/office/drawing/2014/main" id="{53B4D930-E641-1F54-603D-90BA2C311817}"/>
                  </a:ext>
                </a:extLst>
              </p:cNvPr>
              <p:cNvSpPr txBox="1"/>
              <p:nvPr/>
            </p:nvSpPr>
            <p:spPr>
              <a:xfrm>
                <a:off x="7806612" y="4541511"/>
                <a:ext cx="233578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15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13" name="object 47">
                <a:extLst>
                  <a:ext uri="{FF2B5EF4-FFF2-40B4-BE49-F238E27FC236}">
                    <a16:creationId xmlns:a16="http://schemas.microsoft.com/office/drawing/2014/main" id="{169087E0-FC3E-37FD-FA75-1DE4A6BE9381}"/>
                  </a:ext>
                </a:extLst>
              </p:cNvPr>
              <p:cNvSpPr txBox="1"/>
              <p:nvPr/>
            </p:nvSpPr>
            <p:spPr>
              <a:xfrm>
                <a:off x="7813740" y="5056712"/>
                <a:ext cx="233449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14" name="object 56">
                <a:extLst>
                  <a:ext uri="{FF2B5EF4-FFF2-40B4-BE49-F238E27FC236}">
                    <a16:creationId xmlns:a16="http://schemas.microsoft.com/office/drawing/2014/main" id="{D675A07A-C717-96BF-DE0A-F87F5BE470D1}"/>
                  </a:ext>
                </a:extLst>
              </p:cNvPr>
              <p:cNvSpPr txBox="1"/>
              <p:nvPr/>
            </p:nvSpPr>
            <p:spPr>
              <a:xfrm>
                <a:off x="7864814" y="4869926"/>
                <a:ext cx="130872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1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15" name="object 48">
                <a:extLst>
                  <a:ext uri="{FF2B5EF4-FFF2-40B4-BE49-F238E27FC236}">
                    <a16:creationId xmlns:a16="http://schemas.microsoft.com/office/drawing/2014/main" id="{2DD51CB9-E016-FD20-70E2-98EB963D7D0A}"/>
                  </a:ext>
                </a:extLst>
              </p:cNvPr>
              <p:cNvSpPr txBox="1"/>
              <p:nvPr/>
            </p:nvSpPr>
            <p:spPr>
              <a:xfrm>
                <a:off x="8655011" y="4700542"/>
                <a:ext cx="130872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16" name="object 57">
                <a:extLst>
                  <a:ext uri="{FF2B5EF4-FFF2-40B4-BE49-F238E27FC236}">
                    <a16:creationId xmlns:a16="http://schemas.microsoft.com/office/drawing/2014/main" id="{8B974F89-A78E-3F57-D7AD-5B1F040D6A20}"/>
                  </a:ext>
                </a:extLst>
              </p:cNvPr>
              <p:cNvSpPr txBox="1"/>
              <p:nvPr/>
            </p:nvSpPr>
            <p:spPr>
              <a:xfrm>
                <a:off x="8655011" y="4541511"/>
                <a:ext cx="130872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6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17" name="object 48">
                <a:extLst>
                  <a:ext uri="{FF2B5EF4-FFF2-40B4-BE49-F238E27FC236}">
                    <a16:creationId xmlns:a16="http://schemas.microsoft.com/office/drawing/2014/main" id="{3D4A4A57-D52F-1574-6F4B-08BA765B869E}"/>
                  </a:ext>
                </a:extLst>
              </p:cNvPr>
              <p:cNvSpPr txBox="1"/>
              <p:nvPr/>
            </p:nvSpPr>
            <p:spPr>
              <a:xfrm>
                <a:off x="8655011" y="5056712"/>
                <a:ext cx="130872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18" name="object 57">
                <a:extLst>
                  <a:ext uri="{FF2B5EF4-FFF2-40B4-BE49-F238E27FC236}">
                    <a16:creationId xmlns:a16="http://schemas.microsoft.com/office/drawing/2014/main" id="{CFFE4FAA-EEDB-6C92-AEEF-D61FEAFFD40D}"/>
                  </a:ext>
                </a:extLst>
              </p:cNvPr>
              <p:cNvSpPr txBox="1"/>
              <p:nvPr/>
            </p:nvSpPr>
            <p:spPr>
              <a:xfrm>
                <a:off x="8655011" y="4869926"/>
                <a:ext cx="130872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1</a:t>
                </a:r>
              </a:p>
            </p:txBody>
          </p:sp>
          <p:sp>
            <p:nvSpPr>
              <p:cNvPr id="319" name="object 49">
                <a:extLst>
                  <a:ext uri="{FF2B5EF4-FFF2-40B4-BE49-F238E27FC236}">
                    <a16:creationId xmlns:a16="http://schemas.microsoft.com/office/drawing/2014/main" id="{30DBCF6C-4C66-20CE-45A7-66643582797A}"/>
                  </a:ext>
                </a:extLst>
              </p:cNvPr>
              <p:cNvSpPr txBox="1"/>
              <p:nvPr/>
            </p:nvSpPr>
            <p:spPr>
              <a:xfrm>
                <a:off x="9449853" y="4700542"/>
                <a:ext cx="130872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20" name="object 58">
                <a:extLst>
                  <a:ext uri="{FF2B5EF4-FFF2-40B4-BE49-F238E27FC236}">
                    <a16:creationId xmlns:a16="http://schemas.microsoft.com/office/drawing/2014/main" id="{3F17D0CC-6EF7-C151-B699-EADE816EC21D}"/>
                  </a:ext>
                </a:extLst>
              </p:cNvPr>
              <p:cNvSpPr txBox="1"/>
              <p:nvPr/>
            </p:nvSpPr>
            <p:spPr>
              <a:xfrm>
                <a:off x="9449853" y="4541511"/>
                <a:ext cx="130872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1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21" name="object 49">
                <a:extLst>
                  <a:ext uri="{FF2B5EF4-FFF2-40B4-BE49-F238E27FC236}">
                    <a16:creationId xmlns:a16="http://schemas.microsoft.com/office/drawing/2014/main" id="{5852D4DA-CE30-73B7-D3A5-C7DD3D355BC3}"/>
                  </a:ext>
                </a:extLst>
              </p:cNvPr>
              <p:cNvSpPr txBox="1"/>
              <p:nvPr/>
            </p:nvSpPr>
            <p:spPr>
              <a:xfrm>
                <a:off x="9449853" y="5056712"/>
                <a:ext cx="130872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  <a:endParaRPr kumimoji="0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endParaRPr>
              </a:p>
            </p:txBody>
          </p:sp>
          <p:sp>
            <p:nvSpPr>
              <p:cNvPr id="322" name="object 58">
                <a:extLst>
                  <a:ext uri="{FF2B5EF4-FFF2-40B4-BE49-F238E27FC236}">
                    <a16:creationId xmlns:a16="http://schemas.microsoft.com/office/drawing/2014/main" id="{4435912C-B008-6D51-F8EE-5E1C3CD37E53}"/>
                  </a:ext>
                </a:extLst>
              </p:cNvPr>
              <p:cNvSpPr txBox="1"/>
              <p:nvPr/>
            </p:nvSpPr>
            <p:spPr>
              <a:xfrm>
                <a:off x="9449853" y="4869926"/>
                <a:ext cx="130872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0</a:t>
                </a:r>
              </a:p>
            </p:txBody>
          </p:sp>
          <p:sp>
            <p:nvSpPr>
              <p:cNvPr id="323" name="object 65">
                <a:extLst>
                  <a:ext uri="{FF2B5EF4-FFF2-40B4-BE49-F238E27FC236}">
                    <a16:creationId xmlns:a16="http://schemas.microsoft.com/office/drawing/2014/main" id="{CD9BD2B0-5B29-3F71-5401-D4C05F9447C5}"/>
                  </a:ext>
                </a:extLst>
              </p:cNvPr>
              <p:cNvSpPr txBox="1"/>
              <p:nvPr/>
            </p:nvSpPr>
            <p:spPr>
              <a:xfrm>
                <a:off x="480458" y="4700542"/>
                <a:ext cx="2092703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D4D4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ctDNA-neg: pembrolizumab</a:t>
                </a:r>
              </a:p>
            </p:txBody>
          </p:sp>
          <p:cxnSp>
            <p:nvCxnSpPr>
              <p:cNvPr id="324" name="Straight Connector 323">
                <a:extLst>
                  <a:ext uri="{FF2B5EF4-FFF2-40B4-BE49-F238E27FC236}">
                    <a16:creationId xmlns:a16="http://schemas.microsoft.com/office/drawing/2014/main" id="{C4AC5DAD-D812-ECE7-DA05-A6C863E356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55712" y="4782479"/>
                <a:ext cx="300388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4D4D4F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1C6B1860-429E-8A1A-618B-2B601B5686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55712" y="4623447"/>
                <a:ext cx="300388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31837"/>
                </a:solidFill>
                <a:prstDash val="dash"/>
                <a:miter lim="800000"/>
              </a:ln>
              <a:effectLst/>
            </p:spPr>
          </p:cxnSp>
          <p:sp>
            <p:nvSpPr>
              <p:cNvPr id="327" name="object 65">
                <a:extLst>
                  <a:ext uri="{FF2B5EF4-FFF2-40B4-BE49-F238E27FC236}">
                    <a16:creationId xmlns:a16="http://schemas.microsoft.com/office/drawing/2014/main" id="{F076A3F1-F42B-1C9B-4346-E25356E66716}"/>
                  </a:ext>
                </a:extLst>
              </p:cNvPr>
              <p:cNvSpPr txBox="1"/>
              <p:nvPr/>
            </p:nvSpPr>
            <p:spPr>
              <a:xfrm>
                <a:off x="480458" y="5056712"/>
                <a:ext cx="2092703" cy="163874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D4D4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ctDNA-pos: pembrolizumab</a:t>
                </a:r>
              </a:p>
            </p:txBody>
          </p:sp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36FAE150-CC7C-45E7-7A4F-D1563FA53B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55712" y="5138648"/>
                <a:ext cx="300388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0" name="Straight Connector 329">
                <a:extLst>
                  <a:ext uri="{FF2B5EF4-FFF2-40B4-BE49-F238E27FC236}">
                    <a16:creationId xmlns:a16="http://schemas.microsoft.com/office/drawing/2014/main" id="{65C21C21-FAA4-A9AD-4134-C4A2BDADFF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55712" y="4951863"/>
                <a:ext cx="300388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31837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1" name="object 65">
                <a:extLst>
                  <a:ext uri="{FF2B5EF4-FFF2-40B4-BE49-F238E27FC236}">
                    <a16:creationId xmlns:a16="http://schemas.microsoft.com/office/drawing/2014/main" id="{7C9C05B5-C88F-70C3-9574-EFC009E80838}"/>
                  </a:ext>
                </a:extLst>
              </p:cNvPr>
              <p:cNvSpPr txBox="1"/>
              <p:nvPr/>
            </p:nvSpPr>
            <p:spPr>
              <a:xfrm>
                <a:off x="3062080" y="4304770"/>
                <a:ext cx="6598827" cy="163874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Number at Risk</a:t>
                </a:r>
              </a:p>
            </p:txBody>
          </p:sp>
          <p:cxnSp>
            <p:nvCxnSpPr>
              <p:cNvPr id="332" name="Straight Connector 331">
                <a:extLst>
                  <a:ext uri="{FF2B5EF4-FFF2-40B4-BE49-F238E27FC236}">
                    <a16:creationId xmlns:a16="http://schemas.microsoft.com/office/drawing/2014/main" id="{665D3E5D-C62C-0393-DCEF-5D232F56DD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62080" y="4475061"/>
                <a:ext cx="6598827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000000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F79D2EF-46FC-F10C-F07A-902A11262F91}"/>
                </a:ext>
              </a:extLst>
            </p:cNvPr>
            <p:cNvGrpSpPr/>
            <p:nvPr/>
          </p:nvGrpSpPr>
          <p:grpSpPr>
            <a:xfrm>
              <a:off x="2463855" y="849134"/>
              <a:ext cx="8682772" cy="3962855"/>
              <a:chOff x="2463855" y="849134"/>
              <a:chExt cx="8682772" cy="3585778"/>
            </a:xfrm>
          </p:grpSpPr>
          <p:graphicFrame>
            <p:nvGraphicFramePr>
              <p:cNvPr id="284" name="Chart 283">
                <a:extLst>
                  <a:ext uri="{FF2B5EF4-FFF2-40B4-BE49-F238E27FC236}">
                    <a16:creationId xmlns:a16="http://schemas.microsoft.com/office/drawing/2014/main" id="{04762AF9-7BC9-D89F-8994-AD219C7122B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60893795"/>
                  </p:ext>
                </p:extLst>
              </p:nvPr>
            </p:nvGraphicFramePr>
            <p:xfrm>
              <a:off x="2463855" y="849134"/>
              <a:ext cx="8065342" cy="358577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grpSp>
            <p:nvGrpSpPr>
              <p:cNvPr id="334" name="Group 333">
                <a:extLst>
                  <a:ext uri="{FF2B5EF4-FFF2-40B4-BE49-F238E27FC236}">
                    <a16:creationId xmlns:a16="http://schemas.microsoft.com/office/drawing/2014/main" id="{2DACDAE3-0E8C-0385-E8D0-BAE6070B9E97}"/>
                  </a:ext>
                </a:extLst>
              </p:cNvPr>
              <p:cNvGrpSpPr/>
              <p:nvPr/>
            </p:nvGrpSpPr>
            <p:grpSpPr>
              <a:xfrm>
                <a:off x="3129863" y="1246735"/>
                <a:ext cx="6579814" cy="2520882"/>
                <a:chOff x="2371400" y="1648763"/>
                <a:chExt cx="7992075" cy="2781275"/>
              </a:xfrm>
            </p:grpSpPr>
            <p:sp>
              <p:nvSpPr>
                <p:cNvPr id="335" name="Freeform: Shape 334">
                  <a:extLst>
                    <a:ext uri="{FF2B5EF4-FFF2-40B4-BE49-F238E27FC236}">
                      <a16:creationId xmlns:a16="http://schemas.microsoft.com/office/drawing/2014/main" id="{91BB476B-51C0-8E00-04AD-46074D688B84}"/>
                    </a:ext>
                  </a:extLst>
                </p:cNvPr>
                <p:cNvSpPr/>
                <p:nvPr/>
              </p:nvSpPr>
              <p:spPr>
                <a:xfrm>
                  <a:off x="2423200" y="1694914"/>
                  <a:ext cx="6291510" cy="1224057"/>
                </a:xfrm>
                <a:custGeom>
                  <a:avLst/>
                  <a:gdLst>
                    <a:gd name="connsiteX0" fmla="*/ 6291510 w 6291510"/>
                    <a:gd name="connsiteY0" fmla="*/ 1224057 h 1224057"/>
                    <a:gd name="connsiteX1" fmla="*/ 5697696 w 6291510"/>
                    <a:gd name="connsiteY1" fmla="*/ 1224057 h 1224057"/>
                    <a:gd name="connsiteX2" fmla="*/ 5697696 w 6291510"/>
                    <a:gd name="connsiteY2" fmla="*/ 837896 h 1224057"/>
                    <a:gd name="connsiteX3" fmla="*/ 4572000 w 6291510"/>
                    <a:gd name="connsiteY3" fmla="*/ 837896 h 1224057"/>
                    <a:gd name="connsiteX4" fmla="*/ 4572000 w 6291510"/>
                    <a:gd name="connsiteY4" fmla="*/ 681246 h 1224057"/>
                    <a:gd name="connsiteX5" fmla="*/ 3541023 w 6291510"/>
                    <a:gd name="connsiteY5" fmla="*/ 681246 h 1224057"/>
                    <a:gd name="connsiteX6" fmla="*/ 3541023 w 6291510"/>
                    <a:gd name="connsiteY6" fmla="*/ 575598 h 1224057"/>
                    <a:gd name="connsiteX7" fmla="*/ 3500950 w 6291510"/>
                    <a:gd name="connsiteY7" fmla="*/ 575598 h 1224057"/>
                    <a:gd name="connsiteX8" fmla="*/ 3500950 w 6291510"/>
                    <a:gd name="connsiteY8" fmla="*/ 469951 h 1224057"/>
                    <a:gd name="connsiteX9" fmla="*/ 3074716 w 6291510"/>
                    <a:gd name="connsiteY9" fmla="*/ 469951 h 1224057"/>
                    <a:gd name="connsiteX10" fmla="*/ 3074716 w 6291510"/>
                    <a:gd name="connsiteY10" fmla="*/ 364303 h 1224057"/>
                    <a:gd name="connsiteX11" fmla="*/ 2958139 w 6291510"/>
                    <a:gd name="connsiteY11" fmla="*/ 364303 h 1224057"/>
                    <a:gd name="connsiteX12" fmla="*/ 2958139 w 6291510"/>
                    <a:gd name="connsiteY12" fmla="*/ 251369 h 1224057"/>
                    <a:gd name="connsiteX13" fmla="*/ 1985451 w 6291510"/>
                    <a:gd name="connsiteY13" fmla="*/ 251369 h 1224057"/>
                    <a:gd name="connsiteX14" fmla="*/ 1985451 w 6291510"/>
                    <a:gd name="connsiteY14" fmla="*/ 167579 h 1224057"/>
                    <a:gd name="connsiteX15" fmla="*/ 630244 w 6291510"/>
                    <a:gd name="connsiteY15" fmla="*/ 167579 h 1224057"/>
                    <a:gd name="connsiteX16" fmla="*/ 630244 w 6291510"/>
                    <a:gd name="connsiteY16" fmla="*/ 83790 h 1224057"/>
                    <a:gd name="connsiteX17" fmla="*/ 575599 w 6291510"/>
                    <a:gd name="connsiteY17" fmla="*/ 83790 h 1224057"/>
                    <a:gd name="connsiteX18" fmla="*/ 575599 w 6291510"/>
                    <a:gd name="connsiteY18" fmla="*/ 0 h 1224057"/>
                    <a:gd name="connsiteX19" fmla="*/ 0 w 6291510"/>
                    <a:gd name="connsiteY19" fmla="*/ 0 h 1224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291510" h="1224057">
                      <a:moveTo>
                        <a:pt x="6291510" y="1224057"/>
                      </a:moveTo>
                      <a:lnTo>
                        <a:pt x="5697696" y="1224057"/>
                      </a:lnTo>
                      <a:lnTo>
                        <a:pt x="5697696" y="837896"/>
                      </a:lnTo>
                      <a:lnTo>
                        <a:pt x="4572000" y="837896"/>
                      </a:lnTo>
                      <a:lnTo>
                        <a:pt x="4572000" y="681246"/>
                      </a:lnTo>
                      <a:lnTo>
                        <a:pt x="3541023" y="681246"/>
                      </a:lnTo>
                      <a:lnTo>
                        <a:pt x="3541023" y="575598"/>
                      </a:lnTo>
                      <a:lnTo>
                        <a:pt x="3500950" y="575598"/>
                      </a:lnTo>
                      <a:lnTo>
                        <a:pt x="3500950" y="469951"/>
                      </a:lnTo>
                      <a:lnTo>
                        <a:pt x="3074716" y="469951"/>
                      </a:lnTo>
                      <a:lnTo>
                        <a:pt x="3074716" y="364303"/>
                      </a:lnTo>
                      <a:lnTo>
                        <a:pt x="2958139" y="364303"/>
                      </a:lnTo>
                      <a:lnTo>
                        <a:pt x="2958139" y="251369"/>
                      </a:lnTo>
                      <a:lnTo>
                        <a:pt x="1985451" y="251369"/>
                      </a:lnTo>
                      <a:lnTo>
                        <a:pt x="1985451" y="167579"/>
                      </a:lnTo>
                      <a:lnTo>
                        <a:pt x="630244" y="167579"/>
                      </a:lnTo>
                      <a:lnTo>
                        <a:pt x="630244" y="83790"/>
                      </a:lnTo>
                      <a:lnTo>
                        <a:pt x="575599" y="83790"/>
                      </a:lnTo>
                      <a:lnTo>
                        <a:pt x="575599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27051" cap="sq">
                  <a:solidFill>
                    <a:srgbClr val="4D4D4F"/>
                  </a:solidFill>
                  <a:prstDash val="dash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Freeform 57">
                  <a:extLst>
                    <a:ext uri="{FF2B5EF4-FFF2-40B4-BE49-F238E27FC236}">
                      <a16:creationId xmlns:a16="http://schemas.microsoft.com/office/drawing/2014/main" id="{C22E5BC5-C673-206B-E249-9722538ECCEA}"/>
                    </a:ext>
                  </a:extLst>
                </p:cNvPr>
                <p:cNvSpPr/>
                <p:nvPr/>
              </p:nvSpPr>
              <p:spPr>
                <a:xfrm>
                  <a:off x="2762416" y="1648763"/>
                  <a:ext cx="69199" cy="97042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1 w 59391"/>
                    <a:gd name="connsiteY4" fmla="*/ 28641 h 49259"/>
                    <a:gd name="connsiteX5" fmla="*/ 59391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1" y="28641"/>
                      </a:lnTo>
                      <a:lnTo>
                        <a:pt x="59391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E31837"/>
                </a:solidFill>
                <a:ln w="10165" cap="flat">
                  <a:solidFill>
                    <a:srgbClr val="E31837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Freeform 97">
                  <a:extLst>
                    <a:ext uri="{FF2B5EF4-FFF2-40B4-BE49-F238E27FC236}">
                      <a16:creationId xmlns:a16="http://schemas.microsoft.com/office/drawing/2014/main" id="{C25FA551-729B-26EC-F217-9966CE4138FD}"/>
                    </a:ext>
                  </a:extLst>
                </p:cNvPr>
                <p:cNvSpPr/>
                <p:nvPr/>
              </p:nvSpPr>
              <p:spPr>
                <a:xfrm>
                  <a:off x="8680110" y="2871701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Freeform 97">
                  <a:extLst>
                    <a:ext uri="{FF2B5EF4-FFF2-40B4-BE49-F238E27FC236}">
                      <a16:creationId xmlns:a16="http://schemas.microsoft.com/office/drawing/2014/main" id="{753C05F9-D620-7B9E-EE13-1025ED341406}"/>
                    </a:ext>
                  </a:extLst>
                </p:cNvPr>
                <p:cNvSpPr/>
                <p:nvPr/>
              </p:nvSpPr>
              <p:spPr>
                <a:xfrm>
                  <a:off x="8610911" y="2871701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Freeform 97">
                  <a:extLst>
                    <a:ext uri="{FF2B5EF4-FFF2-40B4-BE49-F238E27FC236}">
                      <a16:creationId xmlns:a16="http://schemas.microsoft.com/office/drawing/2014/main" id="{9780266B-7F44-5561-8DAC-2168A8C40F19}"/>
                    </a:ext>
                  </a:extLst>
                </p:cNvPr>
                <p:cNvSpPr/>
                <p:nvPr/>
              </p:nvSpPr>
              <p:spPr>
                <a:xfrm>
                  <a:off x="8496859" y="2871701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97">
                  <a:extLst>
                    <a:ext uri="{FF2B5EF4-FFF2-40B4-BE49-F238E27FC236}">
                      <a16:creationId xmlns:a16="http://schemas.microsoft.com/office/drawing/2014/main" id="{284B2A28-26D8-89EF-F542-9A7A893818BC}"/>
                    </a:ext>
                  </a:extLst>
                </p:cNvPr>
                <p:cNvSpPr/>
                <p:nvPr/>
              </p:nvSpPr>
              <p:spPr>
                <a:xfrm>
                  <a:off x="7963459" y="2484025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Freeform 97">
                  <a:extLst>
                    <a:ext uri="{FF2B5EF4-FFF2-40B4-BE49-F238E27FC236}">
                      <a16:creationId xmlns:a16="http://schemas.microsoft.com/office/drawing/2014/main" id="{875E8979-BC25-E08D-C7C3-136B6DEBC77D}"/>
                    </a:ext>
                  </a:extLst>
                </p:cNvPr>
                <p:cNvSpPr/>
                <p:nvPr/>
              </p:nvSpPr>
              <p:spPr>
                <a:xfrm>
                  <a:off x="7766269" y="2484025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Freeform 97">
                  <a:extLst>
                    <a:ext uri="{FF2B5EF4-FFF2-40B4-BE49-F238E27FC236}">
                      <a16:creationId xmlns:a16="http://schemas.microsoft.com/office/drawing/2014/main" id="{D67852FA-0EC9-6186-9017-3A093C75E548}"/>
                    </a:ext>
                  </a:extLst>
                </p:cNvPr>
                <p:cNvSpPr/>
                <p:nvPr/>
              </p:nvSpPr>
              <p:spPr>
                <a:xfrm>
                  <a:off x="6963787" y="2484025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Freeform 97">
                  <a:extLst>
                    <a:ext uri="{FF2B5EF4-FFF2-40B4-BE49-F238E27FC236}">
                      <a16:creationId xmlns:a16="http://schemas.microsoft.com/office/drawing/2014/main" id="{D2F8C9BF-3256-A43A-7A2F-EF5920398FF4}"/>
                    </a:ext>
                  </a:extLst>
                </p:cNvPr>
                <p:cNvSpPr/>
                <p:nvPr/>
              </p:nvSpPr>
              <p:spPr>
                <a:xfrm>
                  <a:off x="7040725" y="2484025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Freeform 97">
                  <a:extLst>
                    <a:ext uri="{FF2B5EF4-FFF2-40B4-BE49-F238E27FC236}">
                      <a16:creationId xmlns:a16="http://schemas.microsoft.com/office/drawing/2014/main" id="{1CD15C7D-EF99-2DA3-A834-331746D7C389}"/>
                    </a:ext>
                  </a:extLst>
                </p:cNvPr>
                <p:cNvSpPr/>
                <p:nvPr/>
              </p:nvSpPr>
              <p:spPr>
                <a:xfrm>
                  <a:off x="7070121" y="2484025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Freeform 97">
                  <a:extLst>
                    <a:ext uri="{FF2B5EF4-FFF2-40B4-BE49-F238E27FC236}">
                      <a16:creationId xmlns:a16="http://schemas.microsoft.com/office/drawing/2014/main" id="{873D7B59-5B21-8967-91C4-A526D3DA7FAB}"/>
                    </a:ext>
                  </a:extLst>
                </p:cNvPr>
                <p:cNvSpPr/>
                <p:nvPr/>
              </p:nvSpPr>
              <p:spPr>
                <a:xfrm>
                  <a:off x="7134915" y="2484025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Freeform 97">
                  <a:extLst>
                    <a:ext uri="{FF2B5EF4-FFF2-40B4-BE49-F238E27FC236}">
                      <a16:creationId xmlns:a16="http://schemas.microsoft.com/office/drawing/2014/main" id="{2191097E-8917-384A-511F-8FEC75C990B4}"/>
                    </a:ext>
                  </a:extLst>
                </p:cNvPr>
                <p:cNvSpPr/>
                <p:nvPr/>
              </p:nvSpPr>
              <p:spPr>
                <a:xfrm>
                  <a:off x="7152214" y="2484025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Freeform 97">
                  <a:extLst>
                    <a:ext uri="{FF2B5EF4-FFF2-40B4-BE49-F238E27FC236}">
                      <a16:creationId xmlns:a16="http://schemas.microsoft.com/office/drawing/2014/main" id="{57621172-468F-AC41-FCE6-BC6B5E125497}"/>
                    </a:ext>
                  </a:extLst>
                </p:cNvPr>
                <p:cNvSpPr/>
                <p:nvPr/>
              </p:nvSpPr>
              <p:spPr>
                <a:xfrm>
                  <a:off x="6686721" y="2330513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97">
                  <a:extLst>
                    <a:ext uri="{FF2B5EF4-FFF2-40B4-BE49-F238E27FC236}">
                      <a16:creationId xmlns:a16="http://schemas.microsoft.com/office/drawing/2014/main" id="{E614B03B-76FB-59D0-B139-5E8857E2D412}"/>
                    </a:ext>
                  </a:extLst>
                </p:cNvPr>
                <p:cNvSpPr/>
                <p:nvPr/>
              </p:nvSpPr>
              <p:spPr>
                <a:xfrm>
                  <a:off x="6470162" y="2330513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Freeform 97">
                  <a:extLst>
                    <a:ext uri="{FF2B5EF4-FFF2-40B4-BE49-F238E27FC236}">
                      <a16:creationId xmlns:a16="http://schemas.microsoft.com/office/drawing/2014/main" id="{08B46552-DB7B-8490-1DBE-EE73DAD9464B}"/>
                    </a:ext>
                  </a:extLst>
                </p:cNvPr>
                <p:cNvSpPr/>
                <p:nvPr/>
              </p:nvSpPr>
              <p:spPr>
                <a:xfrm>
                  <a:off x="6419713" y="2330513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Freeform 97">
                  <a:extLst>
                    <a:ext uri="{FF2B5EF4-FFF2-40B4-BE49-F238E27FC236}">
                      <a16:creationId xmlns:a16="http://schemas.microsoft.com/office/drawing/2014/main" id="{9C421C7C-B6E7-752D-8587-0E0BDD3F90B7}"/>
                    </a:ext>
                  </a:extLst>
                </p:cNvPr>
                <p:cNvSpPr/>
                <p:nvPr/>
              </p:nvSpPr>
              <p:spPr>
                <a:xfrm>
                  <a:off x="6434671" y="2330513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Freeform 97">
                  <a:extLst>
                    <a:ext uri="{FF2B5EF4-FFF2-40B4-BE49-F238E27FC236}">
                      <a16:creationId xmlns:a16="http://schemas.microsoft.com/office/drawing/2014/main" id="{0CD20CFC-6C20-70D9-92D1-A5D27C0F4D2E}"/>
                    </a:ext>
                  </a:extLst>
                </p:cNvPr>
                <p:cNvSpPr/>
                <p:nvPr/>
              </p:nvSpPr>
              <p:spPr>
                <a:xfrm>
                  <a:off x="6459768" y="2330513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Freeform 97">
                  <a:extLst>
                    <a:ext uri="{FF2B5EF4-FFF2-40B4-BE49-F238E27FC236}">
                      <a16:creationId xmlns:a16="http://schemas.microsoft.com/office/drawing/2014/main" id="{8937EFE3-C386-B0F4-71BB-A8A2E8C81217}"/>
                    </a:ext>
                  </a:extLst>
                </p:cNvPr>
                <p:cNvSpPr/>
                <p:nvPr/>
              </p:nvSpPr>
              <p:spPr>
                <a:xfrm>
                  <a:off x="6171004" y="2330513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Freeform 97">
                  <a:extLst>
                    <a:ext uri="{FF2B5EF4-FFF2-40B4-BE49-F238E27FC236}">
                      <a16:creationId xmlns:a16="http://schemas.microsoft.com/office/drawing/2014/main" id="{B0784D62-740D-5EE1-4ED0-4ED511D2A4AC}"/>
                    </a:ext>
                  </a:extLst>
                </p:cNvPr>
                <p:cNvSpPr/>
                <p:nvPr/>
              </p:nvSpPr>
              <p:spPr>
                <a:xfrm>
                  <a:off x="5354785" y="1999509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Freeform 97">
                  <a:extLst>
                    <a:ext uri="{FF2B5EF4-FFF2-40B4-BE49-F238E27FC236}">
                      <a16:creationId xmlns:a16="http://schemas.microsoft.com/office/drawing/2014/main" id="{2461C036-8C1E-401D-1949-5D8EEBF0C5EC}"/>
                    </a:ext>
                  </a:extLst>
                </p:cNvPr>
                <p:cNvSpPr/>
                <p:nvPr/>
              </p:nvSpPr>
              <p:spPr>
                <a:xfrm>
                  <a:off x="5338118" y="1898146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Freeform 97">
                  <a:extLst>
                    <a:ext uri="{FF2B5EF4-FFF2-40B4-BE49-F238E27FC236}">
                      <a16:creationId xmlns:a16="http://schemas.microsoft.com/office/drawing/2014/main" id="{F0F225BE-1A0E-32B0-B7FF-5A52EE175447}"/>
                    </a:ext>
                  </a:extLst>
                </p:cNvPr>
                <p:cNvSpPr/>
                <p:nvPr/>
              </p:nvSpPr>
              <p:spPr>
                <a:xfrm>
                  <a:off x="4490184" y="1898146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97">
                  <a:extLst>
                    <a:ext uri="{FF2B5EF4-FFF2-40B4-BE49-F238E27FC236}">
                      <a16:creationId xmlns:a16="http://schemas.microsoft.com/office/drawing/2014/main" id="{9A18D592-92EB-DAE6-D276-2FC226C6E30C}"/>
                    </a:ext>
                  </a:extLst>
                </p:cNvPr>
                <p:cNvSpPr/>
                <p:nvPr/>
              </p:nvSpPr>
              <p:spPr>
                <a:xfrm>
                  <a:off x="4134791" y="1812422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Freeform 97">
                  <a:extLst>
                    <a:ext uri="{FF2B5EF4-FFF2-40B4-BE49-F238E27FC236}">
                      <a16:creationId xmlns:a16="http://schemas.microsoft.com/office/drawing/2014/main" id="{7A7CE184-1B03-1714-227A-DEBB20E49236}"/>
                    </a:ext>
                  </a:extLst>
                </p:cNvPr>
                <p:cNvSpPr/>
                <p:nvPr/>
              </p:nvSpPr>
              <p:spPr>
                <a:xfrm>
                  <a:off x="3536071" y="1812422"/>
                  <a:ext cx="69199" cy="101363"/>
                </a:xfrm>
                <a:custGeom>
                  <a:avLst/>
                  <a:gdLst>
                    <a:gd name="connsiteX0" fmla="*/ 24814 w 59391"/>
                    <a:gd name="connsiteY0" fmla="*/ 28641 h 49259"/>
                    <a:gd name="connsiteX1" fmla="*/ 24814 w 59391"/>
                    <a:gd name="connsiteY1" fmla="*/ 49259 h 49259"/>
                    <a:gd name="connsiteX2" fmla="*/ 34577 w 59391"/>
                    <a:gd name="connsiteY2" fmla="*/ 49259 h 49259"/>
                    <a:gd name="connsiteX3" fmla="*/ 34577 w 59391"/>
                    <a:gd name="connsiteY3" fmla="*/ 28641 h 49259"/>
                    <a:gd name="connsiteX4" fmla="*/ 59392 w 59391"/>
                    <a:gd name="connsiteY4" fmla="*/ 28641 h 49259"/>
                    <a:gd name="connsiteX5" fmla="*/ 59392 w 59391"/>
                    <a:gd name="connsiteY5" fmla="*/ 20719 h 49259"/>
                    <a:gd name="connsiteX6" fmla="*/ 34577 w 59391"/>
                    <a:gd name="connsiteY6" fmla="*/ 20719 h 49259"/>
                    <a:gd name="connsiteX7" fmla="*/ 34577 w 59391"/>
                    <a:gd name="connsiteY7" fmla="*/ 0 h 49259"/>
                    <a:gd name="connsiteX8" fmla="*/ 24814 w 59391"/>
                    <a:gd name="connsiteY8" fmla="*/ 0 h 49259"/>
                    <a:gd name="connsiteX9" fmla="*/ 24814 w 59391"/>
                    <a:gd name="connsiteY9" fmla="*/ 20719 h 49259"/>
                    <a:gd name="connsiteX10" fmla="*/ 0 w 59391"/>
                    <a:gd name="connsiteY10" fmla="*/ 20719 h 49259"/>
                    <a:gd name="connsiteX11" fmla="*/ 0 w 59391"/>
                    <a:gd name="connsiteY11" fmla="*/ 28641 h 49259"/>
                    <a:gd name="connsiteX12" fmla="*/ 24814 w 59391"/>
                    <a:gd name="connsiteY12" fmla="*/ 28641 h 49259"/>
                    <a:gd name="connsiteX13" fmla="*/ 24814 w 59391"/>
                    <a:gd name="connsiteY13" fmla="*/ 28641 h 49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9391" h="49259">
                      <a:moveTo>
                        <a:pt x="24814" y="28641"/>
                      </a:moveTo>
                      <a:lnTo>
                        <a:pt x="24814" y="49259"/>
                      </a:lnTo>
                      <a:lnTo>
                        <a:pt x="34577" y="49259"/>
                      </a:lnTo>
                      <a:lnTo>
                        <a:pt x="34577" y="28641"/>
                      </a:lnTo>
                      <a:lnTo>
                        <a:pt x="59392" y="28641"/>
                      </a:lnTo>
                      <a:lnTo>
                        <a:pt x="59392" y="20719"/>
                      </a:lnTo>
                      <a:lnTo>
                        <a:pt x="34577" y="20719"/>
                      </a:lnTo>
                      <a:lnTo>
                        <a:pt x="34577" y="0"/>
                      </a:lnTo>
                      <a:lnTo>
                        <a:pt x="24814" y="0"/>
                      </a:lnTo>
                      <a:lnTo>
                        <a:pt x="24814" y="20719"/>
                      </a:lnTo>
                      <a:lnTo>
                        <a:pt x="0" y="20719"/>
                      </a:lnTo>
                      <a:lnTo>
                        <a:pt x="0" y="28641"/>
                      </a:lnTo>
                      <a:lnTo>
                        <a:pt x="24814" y="28641"/>
                      </a:lnTo>
                      <a:lnTo>
                        <a:pt x="24814" y="28641"/>
                      </a:lnTo>
                      <a:close/>
                    </a:path>
                  </a:pathLst>
                </a:custGeom>
                <a:solidFill>
                  <a:srgbClr val="4D4D4F"/>
                </a:solidFill>
                <a:ln w="10165" cap="flat">
                  <a:solidFill>
                    <a:srgbClr val="4D4D4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grpSp>
              <p:nvGrpSpPr>
                <p:cNvPr id="358" name="Group 357">
                  <a:extLst>
                    <a:ext uri="{FF2B5EF4-FFF2-40B4-BE49-F238E27FC236}">
                      <a16:creationId xmlns:a16="http://schemas.microsoft.com/office/drawing/2014/main" id="{3369DCE4-72DA-6521-CDC1-7B2CB8732F72}"/>
                    </a:ext>
                  </a:extLst>
                </p:cNvPr>
                <p:cNvGrpSpPr/>
                <p:nvPr/>
              </p:nvGrpSpPr>
              <p:grpSpPr>
                <a:xfrm>
                  <a:off x="2406247" y="1692613"/>
                  <a:ext cx="7433170" cy="2737425"/>
                  <a:chOff x="2406247" y="1692613"/>
                  <a:chExt cx="7433170" cy="2737425"/>
                </a:xfrm>
              </p:grpSpPr>
              <p:sp>
                <p:nvSpPr>
                  <p:cNvPr id="415" name="Freeform 12">
                    <a:extLst>
                      <a:ext uri="{FF2B5EF4-FFF2-40B4-BE49-F238E27FC236}">
                        <a16:creationId xmlns:a16="http://schemas.microsoft.com/office/drawing/2014/main" id="{0F30EEFE-9474-1900-DDFB-6857AEDF7EC6}"/>
                      </a:ext>
                    </a:extLst>
                  </p:cNvPr>
                  <p:cNvSpPr/>
                  <p:nvPr/>
                </p:nvSpPr>
                <p:spPr>
                  <a:xfrm>
                    <a:off x="2406247" y="1692613"/>
                    <a:ext cx="7433170" cy="2737425"/>
                  </a:xfrm>
                  <a:custGeom>
                    <a:avLst/>
                    <a:gdLst>
                      <a:gd name="connsiteX0" fmla="*/ 0 w 6372103"/>
                      <a:gd name="connsiteY0" fmla="*/ 0 h 3504807"/>
                      <a:gd name="connsiteX1" fmla="*/ 485143 w 6372103"/>
                      <a:gd name="connsiteY1" fmla="*/ 0 h 3504807"/>
                      <a:gd name="connsiteX2" fmla="*/ 485143 w 6372103"/>
                      <a:gd name="connsiteY2" fmla="*/ 539240 h 3504807"/>
                      <a:gd name="connsiteX3" fmla="*/ 502930 w 6372103"/>
                      <a:gd name="connsiteY3" fmla="*/ 539240 h 3504807"/>
                      <a:gd name="connsiteX4" fmla="*/ 502930 w 6372103"/>
                      <a:gd name="connsiteY4" fmla="*/ 1078396 h 3504807"/>
                      <a:gd name="connsiteX5" fmla="*/ 514732 w 6372103"/>
                      <a:gd name="connsiteY5" fmla="*/ 1078396 h 3504807"/>
                      <a:gd name="connsiteX6" fmla="*/ 514732 w 6372103"/>
                      <a:gd name="connsiteY6" fmla="*/ 1348016 h 3504807"/>
                      <a:gd name="connsiteX7" fmla="*/ 532435 w 6372103"/>
                      <a:gd name="connsiteY7" fmla="*/ 1348016 h 3504807"/>
                      <a:gd name="connsiteX8" fmla="*/ 532435 w 6372103"/>
                      <a:gd name="connsiteY8" fmla="*/ 1617636 h 3504807"/>
                      <a:gd name="connsiteX9" fmla="*/ 1094543 w 6372103"/>
                      <a:gd name="connsiteY9" fmla="*/ 1617636 h 3504807"/>
                      <a:gd name="connsiteX10" fmla="*/ 1094543 w 6372103"/>
                      <a:gd name="connsiteY10" fmla="*/ 1887256 h 3504807"/>
                      <a:gd name="connsiteX11" fmla="*/ 1467315 w 6372103"/>
                      <a:gd name="connsiteY11" fmla="*/ 1887256 h 3504807"/>
                      <a:gd name="connsiteX12" fmla="*/ 1467315 w 6372103"/>
                      <a:gd name="connsiteY12" fmla="*/ 2156792 h 3504807"/>
                      <a:gd name="connsiteX13" fmla="*/ 2514481 w 6372103"/>
                      <a:gd name="connsiteY13" fmla="*/ 2156792 h 3504807"/>
                      <a:gd name="connsiteX14" fmla="*/ 2514481 w 6372103"/>
                      <a:gd name="connsiteY14" fmla="*/ 2426412 h 3504807"/>
                      <a:gd name="connsiteX15" fmla="*/ 3029213 w 6372103"/>
                      <a:gd name="connsiteY15" fmla="*/ 2426412 h 3504807"/>
                      <a:gd name="connsiteX16" fmla="*/ 3467064 w 6372103"/>
                      <a:gd name="connsiteY16" fmla="*/ 2426412 h 3504807"/>
                      <a:gd name="connsiteX17" fmla="*/ 3514356 w 6372103"/>
                      <a:gd name="connsiteY17" fmla="*/ 2426412 h 3504807"/>
                      <a:gd name="connsiteX18" fmla="*/ 6372104 w 6372103"/>
                      <a:gd name="connsiteY18" fmla="*/ 2426412 h 3504807"/>
                      <a:gd name="connsiteX19" fmla="*/ 6372104 w 6372103"/>
                      <a:gd name="connsiteY19" fmla="*/ 3504808 h 3504807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67315 w 6372104"/>
                      <a:gd name="connsiteY12" fmla="*/ 2156792 h 3504808"/>
                      <a:gd name="connsiteX13" fmla="*/ 2235846 w 6372104"/>
                      <a:gd name="connsiteY13" fmla="*/ 2420651 h 3504808"/>
                      <a:gd name="connsiteX14" fmla="*/ 2514481 w 6372104"/>
                      <a:gd name="connsiteY14" fmla="*/ 2426412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67315 w 6372104"/>
                      <a:gd name="connsiteY12" fmla="*/ 2156792 h 3504808"/>
                      <a:gd name="connsiteX13" fmla="*/ 2235846 w 6372104"/>
                      <a:gd name="connsiteY13" fmla="*/ 2420651 h 3504808"/>
                      <a:gd name="connsiteX14" fmla="*/ 3029213 w 6372104"/>
                      <a:gd name="connsiteY14" fmla="*/ 2426412 h 3504808"/>
                      <a:gd name="connsiteX15" fmla="*/ 3467064 w 6372104"/>
                      <a:gd name="connsiteY15" fmla="*/ 2426412 h 3504808"/>
                      <a:gd name="connsiteX16" fmla="*/ 3514356 w 6372104"/>
                      <a:gd name="connsiteY16" fmla="*/ 2426412 h 3504808"/>
                      <a:gd name="connsiteX17" fmla="*/ 6372104 w 6372104"/>
                      <a:gd name="connsiteY17" fmla="*/ 2426412 h 3504808"/>
                      <a:gd name="connsiteX18" fmla="*/ 6372104 w 6372104"/>
                      <a:gd name="connsiteY18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67315 w 6372104"/>
                      <a:gd name="connsiteY12" fmla="*/ 2156792 h 3504808"/>
                      <a:gd name="connsiteX13" fmla="*/ 1804470 w 6372104"/>
                      <a:gd name="connsiteY13" fmla="*/ 2277715 h 3504808"/>
                      <a:gd name="connsiteX14" fmla="*/ 2235846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67315 w 6372104"/>
                      <a:gd name="connsiteY12" fmla="*/ 2156792 h 3504808"/>
                      <a:gd name="connsiteX13" fmla="*/ 2225156 w 6372104"/>
                      <a:gd name="connsiteY13" fmla="*/ 2207959 h 3504808"/>
                      <a:gd name="connsiteX14" fmla="*/ 2235846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67315 w 6372104"/>
                      <a:gd name="connsiteY12" fmla="*/ 2156792 h 3504808"/>
                      <a:gd name="connsiteX13" fmla="*/ 2225156 w 6372104"/>
                      <a:gd name="connsiteY13" fmla="*/ 2207959 h 3504808"/>
                      <a:gd name="connsiteX14" fmla="*/ 2235846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67315 w 6372104"/>
                      <a:gd name="connsiteY12" fmla="*/ 2156792 h 3504808"/>
                      <a:gd name="connsiteX13" fmla="*/ 2225156 w 6372104"/>
                      <a:gd name="connsiteY13" fmla="*/ 2207959 h 3504808"/>
                      <a:gd name="connsiteX14" fmla="*/ 2235846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67315 w 6372104"/>
                      <a:gd name="connsiteY12" fmla="*/ 2156792 h 3504808"/>
                      <a:gd name="connsiteX13" fmla="*/ 2225156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67315 w 6372104"/>
                      <a:gd name="connsiteY12" fmla="*/ 2156792 h 3504808"/>
                      <a:gd name="connsiteX13" fmla="*/ 2225156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67315 w 6372104"/>
                      <a:gd name="connsiteY12" fmla="*/ 2156792 h 3504808"/>
                      <a:gd name="connsiteX13" fmla="*/ 2225156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67315 w 6372104"/>
                      <a:gd name="connsiteY11" fmla="*/ 1887256 h 3504808"/>
                      <a:gd name="connsiteX12" fmla="*/ 1491901 w 6372104"/>
                      <a:gd name="connsiteY12" fmla="*/ 2202285 h 3504808"/>
                      <a:gd name="connsiteX13" fmla="*/ 2225156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094543 w 6372104"/>
                      <a:gd name="connsiteY10" fmla="*/ 1887256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25156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094543 w 6372104"/>
                      <a:gd name="connsiteY9" fmla="*/ 161763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25156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25156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25156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25156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32435 w 6372104"/>
                      <a:gd name="connsiteY8" fmla="*/ 161763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32435 w 6372104"/>
                      <a:gd name="connsiteY7" fmla="*/ 1348016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14732 w 6372104"/>
                      <a:gd name="connsiteY6" fmla="*/ 1348016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14732 w 6372104"/>
                      <a:gd name="connsiteY5" fmla="*/ 1078396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02930 w 6372104"/>
                      <a:gd name="connsiteY4" fmla="*/ 1078396 h 3504808"/>
                      <a:gd name="connsiteX5" fmla="*/ 533854 w 6372104"/>
                      <a:gd name="connsiteY5" fmla="*/ 1139053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3854 w 6372104"/>
                      <a:gd name="connsiteY5" fmla="*/ 1139053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1901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1860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7963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5929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5929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5929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380002 w 6372104"/>
                      <a:gd name="connsiteY4" fmla="*/ 1227007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5929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02930 w 6372104"/>
                      <a:gd name="connsiteY3" fmla="*/ 539240 h 3504808"/>
                      <a:gd name="connsiteX4" fmla="*/ 516318 w 6372104"/>
                      <a:gd name="connsiteY4" fmla="*/ 1116323 h 3504808"/>
                      <a:gd name="connsiteX5" fmla="*/ 536586 w 6372104"/>
                      <a:gd name="connsiteY5" fmla="*/ 1117824 h 3504808"/>
                      <a:gd name="connsiteX6" fmla="*/ 528390 w 6372104"/>
                      <a:gd name="connsiteY6" fmla="*/ 1551218 h 3504808"/>
                      <a:gd name="connsiteX7" fmla="*/ 562484 w 6372104"/>
                      <a:gd name="connsiteY7" fmla="*/ 1551219 h 3504808"/>
                      <a:gd name="connsiteX8" fmla="*/ 557021 w 6372104"/>
                      <a:gd name="connsiteY8" fmla="*/ 1766246 h 3504808"/>
                      <a:gd name="connsiteX9" fmla="*/ 1127323 w 6372104"/>
                      <a:gd name="connsiteY9" fmla="*/ 1766246 h 3504808"/>
                      <a:gd name="connsiteX10" fmla="*/ 1125929 w 6372104"/>
                      <a:gd name="connsiteY10" fmla="*/ 1990373 h 3504808"/>
                      <a:gd name="connsiteX11" fmla="*/ 1497364 w 6372104"/>
                      <a:gd name="connsiteY11" fmla="*/ 1993406 h 3504808"/>
                      <a:gd name="connsiteX12" fmla="*/ 1493936 w 6372104"/>
                      <a:gd name="connsiteY12" fmla="*/ 2202285 h 3504808"/>
                      <a:gd name="connsiteX13" fmla="*/ 2233351 w 6372104"/>
                      <a:gd name="connsiteY13" fmla="*/ 2207959 h 3504808"/>
                      <a:gd name="connsiteX14" fmla="*/ 2230383 w 6372104"/>
                      <a:gd name="connsiteY14" fmla="*/ 2420651 h 3504808"/>
                      <a:gd name="connsiteX15" fmla="*/ 3029213 w 6372104"/>
                      <a:gd name="connsiteY15" fmla="*/ 2426412 h 3504808"/>
                      <a:gd name="connsiteX16" fmla="*/ 3467064 w 6372104"/>
                      <a:gd name="connsiteY16" fmla="*/ 2426412 h 3504808"/>
                      <a:gd name="connsiteX17" fmla="*/ 3514356 w 6372104"/>
                      <a:gd name="connsiteY17" fmla="*/ 2426412 h 3504808"/>
                      <a:gd name="connsiteX18" fmla="*/ 6372104 w 6372104"/>
                      <a:gd name="connsiteY18" fmla="*/ 2426412 h 3504808"/>
                      <a:gd name="connsiteX19" fmla="*/ 6372104 w 6372104"/>
                      <a:gd name="connsiteY19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485143 w 6372104"/>
                      <a:gd name="connsiteY2" fmla="*/ 539240 h 3504808"/>
                      <a:gd name="connsiteX3" fmla="*/ 516318 w 6372104"/>
                      <a:gd name="connsiteY3" fmla="*/ 1116323 h 3504808"/>
                      <a:gd name="connsiteX4" fmla="*/ 536586 w 6372104"/>
                      <a:gd name="connsiteY4" fmla="*/ 1117824 h 3504808"/>
                      <a:gd name="connsiteX5" fmla="*/ 528390 w 6372104"/>
                      <a:gd name="connsiteY5" fmla="*/ 1551218 h 3504808"/>
                      <a:gd name="connsiteX6" fmla="*/ 562484 w 6372104"/>
                      <a:gd name="connsiteY6" fmla="*/ 1551219 h 3504808"/>
                      <a:gd name="connsiteX7" fmla="*/ 557021 w 6372104"/>
                      <a:gd name="connsiteY7" fmla="*/ 1766246 h 3504808"/>
                      <a:gd name="connsiteX8" fmla="*/ 1127323 w 6372104"/>
                      <a:gd name="connsiteY8" fmla="*/ 1766246 h 3504808"/>
                      <a:gd name="connsiteX9" fmla="*/ 1125929 w 6372104"/>
                      <a:gd name="connsiteY9" fmla="*/ 1990373 h 3504808"/>
                      <a:gd name="connsiteX10" fmla="*/ 1497364 w 6372104"/>
                      <a:gd name="connsiteY10" fmla="*/ 1993406 h 3504808"/>
                      <a:gd name="connsiteX11" fmla="*/ 1493936 w 6372104"/>
                      <a:gd name="connsiteY11" fmla="*/ 2202285 h 3504808"/>
                      <a:gd name="connsiteX12" fmla="*/ 2233351 w 6372104"/>
                      <a:gd name="connsiteY12" fmla="*/ 2207959 h 3504808"/>
                      <a:gd name="connsiteX13" fmla="*/ 2230383 w 6372104"/>
                      <a:gd name="connsiteY13" fmla="*/ 2420651 h 3504808"/>
                      <a:gd name="connsiteX14" fmla="*/ 3029213 w 6372104"/>
                      <a:gd name="connsiteY14" fmla="*/ 2426412 h 3504808"/>
                      <a:gd name="connsiteX15" fmla="*/ 3467064 w 6372104"/>
                      <a:gd name="connsiteY15" fmla="*/ 2426412 h 3504808"/>
                      <a:gd name="connsiteX16" fmla="*/ 3514356 w 6372104"/>
                      <a:gd name="connsiteY16" fmla="*/ 2426412 h 3504808"/>
                      <a:gd name="connsiteX17" fmla="*/ 6372104 w 6372104"/>
                      <a:gd name="connsiteY17" fmla="*/ 2426412 h 3504808"/>
                      <a:gd name="connsiteX18" fmla="*/ 6372104 w 6372104"/>
                      <a:gd name="connsiteY18" fmla="*/ 3504808 h 3504808"/>
                      <a:gd name="connsiteX0" fmla="*/ 0 w 6372104"/>
                      <a:gd name="connsiteY0" fmla="*/ 0 h 3504808"/>
                      <a:gd name="connsiteX1" fmla="*/ 485143 w 6372104"/>
                      <a:gd name="connsiteY1" fmla="*/ 0 h 3504808"/>
                      <a:gd name="connsiteX2" fmla="*/ 516318 w 6372104"/>
                      <a:gd name="connsiteY2" fmla="*/ 1116323 h 3504808"/>
                      <a:gd name="connsiteX3" fmla="*/ 536586 w 6372104"/>
                      <a:gd name="connsiteY3" fmla="*/ 1117824 h 3504808"/>
                      <a:gd name="connsiteX4" fmla="*/ 528390 w 6372104"/>
                      <a:gd name="connsiteY4" fmla="*/ 1551218 h 3504808"/>
                      <a:gd name="connsiteX5" fmla="*/ 562484 w 6372104"/>
                      <a:gd name="connsiteY5" fmla="*/ 1551219 h 3504808"/>
                      <a:gd name="connsiteX6" fmla="*/ 557021 w 6372104"/>
                      <a:gd name="connsiteY6" fmla="*/ 1766246 h 3504808"/>
                      <a:gd name="connsiteX7" fmla="*/ 1127323 w 6372104"/>
                      <a:gd name="connsiteY7" fmla="*/ 1766246 h 3504808"/>
                      <a:gd name="connsiteX8" fmla="*/ 1125929 w 6372104"/>
                      <a:gd name="connsiteY8" fmla="*/ 1990373 h 3504808"/>
                      <a:gd name="connsiteX9" fmla="*/ 1497364 w 6372104"/>
                      <a:gd name="connsiteY9" fmla="*/ 1993406 h 3504808"/>
                      <a:gd name="connsiteX10" fmla="*/ 1493936 w 6372104"/>
                      <a:gd name="connsiteY10" fmla="*/ 2202285 h 3504808"/>
                      <a:gd name="connsiteX11" fmla="*/ 2233351 w 6372104"/>
                      <a:gd name="connsiteY11" fmla="*/ 2207959 h 3504808"/>
                      <a:gd name="connsiteX12" fmla="*/ 2230383 w 6372104"/>
                      <a:gd name="connsiteY12" fmla="*/ 2420651 h 3504808"/>
                      <a:gd name="connsiteX13" fmla="*/ 3029213 w 6372104"/>
                      <a:gd name="connsiteY13" fmla="*/ 2426412 h 3504808"/>
                      <a:gd name="connsiteX14" fmla="*/ 3467064 w 6372104"/>
                      <a:gd name="connsiteY14" fmla="*/ 2426412 h 3504808"/>
                      <a:gd name="connsiteX15" fmla="*/ 3514356 w 6372104"/>
                      <a:gd name="connsiteY15" fmla="*/ 2426412 h 3504808"/>
                      <a:gd name="connsiteX16" fmla="*/ 6372104 w 6372104"/>
                      <a:gd name="connsiteY16" fmla="*/ 2426412 h 3504808"/>
                      <a:gd name="connsiteX17" fmla="*/ 6372104 w 6372104"/>
                      <a:gd name="connsiteY17" fmla="*/ 3504808 h 3504808"/>
                      <a:gd name="connsiteX0" fmla="*/ 0 w 6372104"/>
                      <a:gd name="connsiteY0" fmla="*/ 0 h 3504808"/>
                      <a:gd name="connsiteX1" fmla="*/ 513628 w 6372104"/>
                      <a:gd name="connsiteY1" fmla="*/ 919354 h 3504808"/>
                      <a:gd name="connsiteX2" fmla="*/ 516318 w 6372104"/>
                      <a:gd name="connsiteY2" fmla="*/ 1116323 h 3504808"/>
                      <a:gd name="connsiteX3" fmla="*/ 536586 w 6372104"/>
                      <a:gd name="connsiteY3" fmla="*/ 1117824 h 3504808"/>
                      <a:gd name="connsiteX4" fmla="*/ 528390 w 6372104"/>
                      <a:gd name="connsiteY4" fmla="*/ 1551218 h 3504808"/>
                      <a:gd name="connsiteX5" fmla="*/ 562484 w 6372104"/>
                      <a:gd name="connsiteY5" fmla="*/ 1551219 h 3504808"/>
                      <a:gd name="connsiteX6" fmla="*/ 557021 w 6372104"/>
                      <a:gd name="connsiteY6" fmla="*/ 1766246 h 3504808"/>
                      <a:gd name="connsiteX7" fmla="*/ 1127323 w 6372104"/>
                      <a:gd name="connsiteY7" fmla="*/ 1766246 h 3504808"/>
                      <a:gd name="connsiteX8" fmla="*/ 1125929 w 6372104"/>
                      <a:gd name="connsiteY8" fmla="*/ 1990373 h 3504808"/>
                      <a:gd name="connsiteX9" fmla="*/ 1497364 w 6372104"/>
                      <a:gd name="connsiteY9" fmla="*/ 1993406 h 3504808"/>
                      <a:gd name="connsiteX10" fmla="*/ 1493936 w 6372104"/>
                      <a:gd name="connsiteY10" fmla="*/ 2202285 h 3504808"/>
                      <a:gd name="connsiteX11" fmla="*/ 2233351 w 6372104"/>
                      <a:gd name="connsiteY11" fmla="*/ 2207959 h 3504808"/>
                      <a:gd name="connsiteX12" fmla="*/ 2230383 w 6372104"/>
                      <a:gd name="connsiteY12" fmla="*/ 2420651 h 3504808"/>
                      <a:gd name="connsiteX13" fmla="*/ 3029213 w 6372104"/>
                      <a:gd name="connsiteY13" fmla="*/ 2426412 h 3504808"/>
                      <a:gd name="connsiteX14" fmla="*/ 3467064 w 6372104"/>
                      <a:gd name="connsiteY14" fmla="*/ 2426412 h 3504808"/>
                      <a:gd name="connsiteX15" fmla="*/ 3514356 w 6372104"/>
                      <a:gd name="connsiteY15" fmla="*/ 2426412 h 3504808"/>
                      <a:gd name="connsiteX16" fmla="*/ 6372104 w 6372104"/>
                      <a:gd name="connsiteY16" fmla="*/ 2426412 h 3504808"/>
                      <a:gd name="connsiteX17" fmla="*/ 6372104 w 6372104"/>
                      <a:gd name="connsiteY17" fmla="*/ 3504808 h 3504808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497872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6503 w 6341586"/>
                      <a:gd name="connsiteY6" fmla="*/ 846892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497872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6503 w 6341586"/>
                      <a:gd name="connsiteY6" fmla="*/ 846892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497872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6503 w 6341586"/>
                      <a:gd name="connsiteY6" fmla="*/ 846892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497872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6503 w 6341586"/>
                      <a:gd name="connsiteY6" fmla="*/ 846892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497872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6503 w 6341586"/>
                      <a:gd name="connsiteY6" fmla="*/ 846892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503976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6503 w 6341586"/>
                      <a:gd name="connsiteY6" fmla="*/ 846892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503976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6503 w 6341586"/>
                      <a:gd name="connsiteY6" fmla="*/ 846892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503976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6503 w 6341586"/>
                      <a:gd name="connsiteY6" fmla="*/ 846892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503976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8538 w 6341586"/>
                      <a:gd name="connsiteY6" fmla="*/ 844633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503976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8538 w 6341586"/>
                      <a:gd name="connsiteY6" fmla="*/ 844633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  <a:gd name="connsiteX0" fmla="*/ 0 w 6341586"/>
                      <a:gd name="connsiteY0" fmla="*/ 1 h 2585454"/>
                      <a:gd name="connsiteX1" fmla="*/ 483110 w 6341586"/>
                      <a:gd name="connsiteY1" fmla="*/ 0 h 2585454"/>
                      <a:gd name="connsiteX2" fmla="*/ 485800 w 6341586"/>
                      <a:gd name="connsiteY2" fmla="*/ 196969 h 2585454"/>
                      <a:gd name="connsiteX3" fmla="*/ 506068 w 6341586"/>
                      <a:gd name="connsiteY3" fmla="*/ 198470 h 2585454"/>
                      <a:gd name="connsiteX4" fmla="*/ 503976 w 6341586"/>
                      <a:gd name="connsiteY4" fmla="*/ 631864 h 2585454"/>
                      <a:gd name="connsiteX5" fmla="*/ 531966 w 6341586"/>
                      <a:gd name="connsiteY5" fmla="*/ 631865 h 2585454"/>
                      <a:gd name="connsiteX6" fmla="*/ 528538 w 6341586"/>
                      <a:gd name="connsiteY6" fmla="*/ 844633 h 2585454"/>
                      <a:gd name="connsiteX7" fmla="*/ 1096805 w 6341586"/>
                      <a:gd name="connsiteY7" fmla="*/ 846892 h 2585454"/>
                      <a:gd name="connsiteX8" fmla="*/ 1095411 w 6341586"/>
                      <a:gd name="connsiteY8" fmla="*/ 1071019 h 2585454"/>
                      <a:gd name="connsiteX9" fmla="*/ 1466846 w 6341586"/>
                      <a:gd name="connsiteY9" fmla="*/ 1074052 h 2585454"/>
                      <a:gd name="connsiteX10" fmla="*/ 1463418 w 6341586"/>
                      <a:gd name="connsiteY10" fmla="*/ 1282931 h 2585454"/>
                      <a:gd name="connsiteX11" fmla="*/ 2202833 w 6341586"/>
                      <a:gd name="connsiteY11" fmla="*/ 1288605 h 2585454"/>
                      <a:gd name="connsiteX12" fmla="*/ 2199865 w 6341586"/>
                      <a:gd name="connsiteY12" fmla="*/ 1501297 h 2585454"/>
                      <a:gd name="connsiteX13" fmla="*/ 2998695 w 6341586"/>
                      <a:gd name="connsiteY13" fmla="*/ 1507058 h 2585454"/>
                      <a:gd name="connsiteX14" fmla="*/ 3436546 w 6341586"/>
                      <a:gd name="connsiteY14" fmla="*/ 1507058 h 2585454"/>
                      <a:gd name="connsiteX15" fmla="*/ 3483838 w 6341586"/>
                      <a:gd name="connsiteY15" fmla="*/ 1507058 h 2585454"/>
                      <a:gd name="connsiteX16" fmla="*/ 6341586 w 6341586"/>
                      <a:gd name="connsiteY16" fmla="*/ 1507058 h 2585454"/>
                      <a:gd name="connsiteX17" fmla="*/ 6341586 w 6341586"/>
                      <a:gd name="connsiteY17" fmla="*/ 2585454 h 25854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6341586" h="2585454">
                        <a:moveTo>
                          <a:pt x="0" y="1"/>
                        </a:moveTo>
                        <a:lnTo>
                          <a:pt x="483110" y="0"/>
                        </a:lnTo>
                        <a:cubicBezTo>
                          <a:pt x="484007" y="65656"/>
                          <a:pt x="484903" y="131313"/>
                          <a:pt x="485800" y="196969"/>
                        </a:cubicBezTo>
                        <a:lnTo>
                          <a:pt x="506068" y="198470"/>
                        </a:lnTo>
                        <a:cubicBezTo>
                          <a:pt x="501970" y="415167"/>
                          <a:pt x="505022" y="415167"/>
                          <a:pt x="503976" y="631864"/>
                        </a:cubicBezTo>
                        <a:lnTo>
                          <a:pt x="531966" y="631865"/>
                        </a:lnTo>
                        <a:lnTo>
                          <a:pt x="528538" y="844633"/>
                        </a:lnTo>
                        <a:lnTo>
                          <a:pt x="1096805" y="846892"/>
                        </a:lnTo>
                        <a:cubicBezTo>
                          <a:pt x="1096340" y="921601"/>
                          <a:pt x="1095876" y="996310"/>
                          <a:pt x="1095411" y="1071019"/>
                        </a:cubicBezTo>
                        <a:lnTo>
                          <a:pt x="1466846" y="1074052"/>
                        </a:lnTo>
                        <a:cubicBezTo>
                          <a:pt x="1465703" y="1143678"/>
                          <a:pt x="1464561" y="1213305"/>
                          <a:pt x="1463418" y="1282931"/>
                        </a:cubicBezTo>
                        <a:lnTo>
                          <a:pt x="2202833" y="1288605"/>
                        </a:lnTo>
                        <a:cubicBezTo>
                          <a:pt x="2201844" y="1359502"/>
                          <a:pt x="2200854" y="1430400"/>
                          <a:pt x="2199865" y="1501297"/>
                        </a:cubicBezTo>
                        <a:lnTo>
                          <a:pt x="2998695" y="1507058"/>
                        </a:lnTo>
                        <a:lnTo>
                          <a:pt x="3436546" y="1507058"/>
                        </a:lnTo>
                        <a:lnTo>
                          <a:pt x="3483838" y="1507058"/>
                        </a:lnTo>
                        <a:lnTo>
                          <a:pt x="6341586" y="1507058"/>
                        </a:lnTo>
                        <a:lnTo>
                          <a:pt x="6341586" y="2585454"/>
                        </a:lnTo>
                      </a:path>
                    </a:pathLst>
                  </a:custGeom>
                  <a:noFill/>
                  <a:ln w="27051" cap="sq">
                    <a:solidFill>
                      <a:srgbClr val="E31837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6" name="Freeform 57">
                    <a:extLst>
                      <a:ext uri="{FF2B5EF4-FFF2-40B4-BE49-F238E27FC236}">
                        <a16:creationId xmlns:a16="http://schemas.microsoft.com/office/drawing/2014/main" id="{95990A6E-7395-D378-C5EE-1330F105424B}"/>
                      </a:ext>
                    </a:extLst>
                  </p:cNvPr>
                  <p:cNvSpPr/>
                  <p:nvPr/>
                </p:nvSpPr>
                <p:spPr>
                  <a:xfrm>
                    <a:off x="6477782" y="3240163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21D3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7" name="Freeform 57">
                    <a:extLst>
                      <a:ext uri="{FF2B5EF4-FFF2-40B4-BE49-F238E27FC236}">
                        <a16:creationId xmlns:a16="http://schemas.microsoft.com/office/drawing/2014/main" id="{B4C38869-7A8A-06F8-5FE6-A8769413E596}"/>
                      </a:ext>
                    </a:extLst>
                  </p:cNvPr>
                  <p:cNvSpPr/>
                  <p:nvPr/>
                </p:nvSpPr>
                <p:spPr>
                  <a:xfrm>
                    <a:off x="6409720" y="3240163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21D3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8" name="Freeform 57">
                    <a:extLst>
                      <a:ext uri="{FF2B5EF4-FFF2-40B4-BE49-F238E27FC236}">
                        <a16:creationId xmlns:a16="http://schemas.microsoft.com/office/drawing/2014/main" id="{3886B1A7-4A25-E700-250A-D619ADFEBAB6}"/>
                      </a:ext>
                    </a:extLst>
                  </p:cNvPr>
                  <p:cNvSpPr/>
                  <p:nvPr/>
                </p:nvSpPr>
                <p:spPr>
                  <a:xfrm>
                    <a:off x="5909611" y="3240163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21D3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9" name="Freeform 57">
                    <a:extLst>
                      <a:ext uri="{FF2B5EF4-FFF2-40B4-BE49-F238E27FC236}">
                        <a16:creationId xmlns:a16="http://schemas.microsoft.com/office/drawing/2014/main" id="{27AE5D82-3BFE-FEC0-D73E-6F5E9BBF22CC}"/>
                      </a:ext>
                    </a:extLst>
                  </p:cNvPr>
                  <p:cNvSpPr/>
                  <p:nvPr/>
                </p:nvSpPr>
                <p:spPr>
                  <a:xfrm>
                    <a:off x="5305929" y="3240163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21D3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0" name="Freeform 57">
                    <a:extLst>
                      <a:ext uri="{FF2B5EF4-FFF2-40B4-BE49-F238E27FC236}">
                        <a16:creationId xmlns:a16="http://schemas.microsoft.com/office/drawing/2014/main" id="{4ED0F3EB-1A14-2C19-0056-7FA920B959FC}"/>
                      </a:ext>
                    </a:extLst>
                  </p:cNvPr>
                  <p:cNvSpPr/>
                  <p:nvPr/>
                </p:nvSpPr>
                <p:spPr>
                  <a:xfrm>
                    <a:off x="2937556" y="1851740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21D3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59" name="Group 358">
                  <a:extLst>
                    <a:ext uri="{FF2B5EF4-FFF2-40B4-BE49-F238E27FC236}">
                      <a16:creationId xmlns:a16="http://schemas.microsoft.com/office/drawing/2014/main" id="{4CC0DBA1-7FA7-5A5C-F225-4E13256DA8C3}"/>
                    </a:ext>
                  </a:extLst>
                </p:cNvPr>
                <p:cNvGrpSpPr/>
                <p:nvPr/>
              </p:nvGrpSpPr>
              <p:grpSpPr>
                <a:xfrm>
                  <a:off x="2371400" y="1648763"/>
                  <a:ext cx="7992075" cy="136370"/>
                  <a:chOff x="2371400" y="1648763"/>
                  <a:chExt cx="7992075" cy="136370"/>
                </a:xfrm>
              </p:grpSpPr>
              <p:sp>
                <p:nvSpPr>
                  <p:cNvPr id="361" name="Freeform: Shape 360">
                    <a:extLst>
                      <a:ext uri="{FF2B5EF4-FFF2-40B4-BE49-F238E27FC236}">
                        <a16:creationId xmlns:a16="http://schemas.microsoft.com/office/drawing/2014/main" id="{17683075-1ED2-E67D-54CF-20D1054FC370}"/>
                      </a:ext>
                    </a:extLst>
                  </p:cNvPr>
                  <p:cNvSpPr/>
                  <p:nvPr/>
                </p:nvSpPr>
                <p:spPr>
                  <a:xfrm>
                    <a:off x="2400300" y="1693333"/>
                    <a:ext cx="7924800" cy="42334"/>
                  </a:xfrm>
                  <a:custGeom>
                    <a:avLst/>
                    <a:gdLst>
                      <a:gd name="connsiteX0" fmla="*/ 7924800 w 7924800"/>
                      <a:gd name="connsiteY0" fmla="*/ 42334 h 42334"/>
                      <a:gd name="connsiteX1" fmla="*/ 1117600 w 7924800"/>
                      <a:gd name="connsiteY1" fmla="*/ 42334 h 42334"/>
                      <a:gd name="connsiteX2" fmla="*/ 1117600 w 7924800"/>
                      <a:gd name="connsiteY2" fmla="*/ 0 h 42334"/>
                      <a:gd name="connsiteX3" fmla="*/ 0 w 7924800"/>
                      <a:gd name="connsiteY3" fmla="*/ 0 h 423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924800" h="42334">
                        <a:moveTo>
                          <a:pt x="7924800" y="42334"/>
                        </a:moveTo>
                        <a:lnTo>
                          <a:pt x="1117600" y="42334"/>
                        </a:lnTo>
                        <a:lnTo>
                          <a:pt x="1117600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27051" cap="sq">
                    <a:solidFill>
                      <a:srgbClr val="E31837"/>
                    </a:solidFill>
                    <a:prstDash val="dash"/>
                    <a:miter lim="800000"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2" name="Freeform 57">
                    <a:extLst>
                      <a:ext uri="{FF2B5EF4-FFF2-40B4-BE49-F238E27FC236}">
                        <a16:creationId xmlns:a16="http://schemas.microsoft.com/office/drawing/2014/main" id="{76CC0FCC-EF52-02D3-56A2-C5FED7AE8302}"/>
                      </a:ext>
                    </a:extLst>
                  </p:cNvPr>
                  <p:cNvSpPr/>
                  <p:nvPr/>
                </p:nvSpPr>
                <p:spPr>
                  <a:xfrm>
                    <a:off x="10294276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3" name="Freeform 57">
                    <a:extLst>
                      <a:ext uri="{FF2B5EF4-FFF2-40B4-BE49-F238E27FC236}">
                        <a16:creationId xmlns:a16="http://schemas.microsoft.com/office/drawing/2014/main" id="{A3B4A48B-A4B8-6780-D29B-3368E8C3E4CF}"/>
                      </a:ext>
                    </a:extLst>
                  </p:cNvPr>
                  <p:cNvSpPr/>
                  <p:nvPr/>
                </p:nvSpPr>
                <p:spPr>
                  <a:xfrm>
                    <a:off x="10068368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4" name="Freeform 57">
                    <a:extLst>
                      <a:ext uri="{FF2B5EF4-FFF2-40B4-BE49-F238E27FC236}">
                        <a16:creationId xmlns:a16="http://schemas.microsoft.com/office/drawing/2014/main" id="{52544419-262B-8697-884B-8C7C398B0549}"/>
                      </a:ext>
                    </a:extLst>
                  </p:cNvPr>
                  <p:cNvSpPr/>
                  <p:nvPr/>
                </p:nvSpPr>
                <p:spPr>
                  <a:xfrm>
                    <a:off x="9850094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5" name="Freeform 57">
                    <a:extLst>
                      <a:ext uri="{FF2B5EF4-FFF2-40B4-BE49-F238E27FC236}">
                        <a16:creationId xmlns:a16="http://schemas.microsoft.com/office/drawing/2014/main" id="{3D7C1469-FC7E-7F9B-2D68-37099A206CB3}"/>
                      </a:ext>
                    </a:extLst>
                  </p:cNvPr>
                  <p:cNvSpPr/>
                  <p:nvPr/>
                </p:nvSpPr>
                <p:spPr>
                  <a:xfrm>
                    <a:off x="9707555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6" name="Freeform 57">
                    <a:extLst>
                      <a:ext uri="{FF2B5EF4-FFF2-40B4-BE49-F238E27FC236}">
                        <a16:creationId xmlns:a16="http://schemas.microsoft.com/office/drawing/2014/main" id="{F6FD04C4-D155-33B1-339B-F2AF31DC59F2}"/>
                      </a:ext>
                    </a:extLst>
                  </p:cNvPr>
                  <p:cNvSpPr/>
                  <p:nvPr/>
                </p:nvSpPr>
                <p:spPr>
                  <a:xfrm>
                    <a:off x="9444033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7" name="Freeform 57">
                    <a:extLst>
                      <a:ext uri="{FF2B5EF4-FFF2-40B4-BE49-F238E27FC236}">
                        <a16:creationId xmlns:a16="http://schemas.microsoft.com/office/drawing/2014/main" id="{4CDF4948-F219-7D25-479B-6CC3A2A5FCFD}"/>
                      </a:ext>
                    </a:extLst>
                  </p:cNvPr>
                  <p:cNvSpPr/>
                  <p:nvPr/>
                </p:nvSpPr>
                <p:spPr>
                  <a:xfrm>
                    <a:off x="8997128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8" name="Freeform 57">
                    <a:extLst>
                      <a:ext uri="{FF2B5EF4-FFF2-40B4-BE49-F238E27FC236}">
                        <a16:creationId xmlns:a16="http://schemas.microsoft.com/office/drawing/2014/main" id="{E3B0AA44-F5DC-4B27-70A4-EDEAA6769FDE}"/>
                      </a:ext>
                    </a:extLst>
                  </p:cNvPr>
                  <p:cNvSpPr/>
                  <p:nvPr/>
                </p:nvSpPr>
                <p:spPr>
                  <a:xfrm>
                    <a:off x="8680110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9" name="Freeform 57">
                    <a:extLst>
                      <a:ext uri="{FF2B5EF4-FFF2-40B4-BE49-F238E27FC236}">
                        <a16:creationId xmlns:a16="http://schemas.microsoft.com/office/drawing/2014/main" id="{A5727631-27EA-DC17-EEAE-D40DC9C47A25}"/>
                      </a:ext>
                    </a:extLst>
                  </p:cNvPr>
                  <p:cNvSpPr/>
                  <p:nvPr/>
                </p:nvSpPr>
                <p:spPr>
                  <a:xfrm>
                    <a:off x="8610911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0" name="Freeform 57">
                    <a:extLst>
                      <a:ext uri="{FF2B5EF4-FFF2-40B4-BE49-F238E27FC236}">
                        <a16:creationId xmlns:a16="http://schemas.microsoft.com/office/drawing/2014/main" id="{857697ED-706E-D80C-9FAF-6BCF69B6FA20}"/>
                      </a:ext>
                    </a:extLst>
                  </p:cNvPr>
                  <p:cNvSpPr/>
                  <p:nvPr/>
                </p:nvSpPr>
                <p:spPr>
                  <a:xfrm>
                    <a:off x="8515624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1" name="Freeform 57">
                    <a:extLst>
                      <a:ext uri="{FF2B5EF4-FFF2-40B4-BE49-F238E27FC236}">
                        <a16:creationId xmlns:a16="http://schemas.microsoft.com/office/drawing/2014/main" id="{CE92E76D-B36F-FE9E-E0B4-E669DC11852D}"/>
                      </a:ext>
                    </a:extLst>
                  </p:cNvPr>
                  <p:cNvSpPr/>
                  <p:nvPr/>
                </p:nvSpPr>
                <p:spPr>
                  <a:xfrm>
                    <a:off x="8470771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2" name="Freeform 57">
                    <a:extLst>
                      <a:ext uri="{FF2B5EF4-FFF2-40B4-BE49-F238E27FC236}">
                        <a16:creationId xmlns:a16="http://schemas.microsoft.com/office/drawing/2014/main" id="{D7BB5AB9-8BCE-4179-EFC6-C0287B758AD2}"/>
                      </a:ext>
                    </a:extLst>
                  </p:cNvPr>
                  <p:cNvSpPr/>
                  <p:nvPr/>
                </p:nvSpPr>
                <p:spPr>
                  <a:xfrm>
                    <a:off x="8411825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3" name="Freeform 57">
                    <a:extLst>
                      <a:ext uri="{FF2B5EF4-FFF2-40B4-BE49-F238E27FC236}">
                        <a16:creationId xmlns:a16="http://schemas.microsoft.com/office/drawing/2014/main" id="{3F4DE2BD-C9F7-F92B-E06E-DE5A8FB09E7F}"/>
                      </a:ext>
                    </a:extLst>
                  </p:cNvPr>
                  <p:cNvSpPr/>
                  <p:nvPr/>
                </p:nvSpPr>
                <p:spPr>
                  <a:xfrm>
                    <a:off x="8330298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4" name="Freeform 57">
                    <a:extLst>
                      <a:ext uri="{FF2B5EF4-FFF2-40B4-BE49-F238E27FC236}">
                        <a16:creationId xmlns:a16="http://schemas.microsoft.com/office/drawing/2014/main" id="{4515981B-903F-0E22-5217-575A909DC8C6}"/>
                      </a:ext>
                    </a:extLst>
                  </p:cNvPr>
                  <p:cNvSpPr/>
                  <p:nvPr/>
                </p:nvSpPr>
                <p:spPr>
                  <a:xfrm>
                    <a:off x="8278554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5" name="Freeform 57">
                    <a:extLst>
                      <a:ext uri="{FF2B5EF4-FFF2-40B4-BE49-F238E27FC236}">
                        <a16:creationId xmlns:a16="http://schemas.microsoft.com/office/drawing/2014/main" id="{B7A9E095-C852-4AF6-EFCA-9121701D4F6D}"/>
                      </a:ext>
                    </a:extLst>
                  </p:cNvPr>
                  <p:cNvSpPr/>
                  <p:nvPr/>
                </p:nvSpPr>
                <p:spPr>
                  <a:xfrm>
                    <a:off x="7758271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6" name="Freeform 57">
                    <a:extLst>
                      <a:ext uri="{FF2B5EF4-FFF2-40B4-BE49-F238E27FC236}">
                        <a16:creationId xmlns:a16="http://schemas.microsoft.com/office/drawing/2014/main" id="{E3FEC2E0-CA60-C427-CAD5-3B378447F88D}"/>
                      </a:ext>
                    </a:extLst>
                  </p:cNvPr>
                  <p:cNvSpPr/>
                  <p:nvPr/>
                </p:nvSpPr>
                <p:spPr>
                  <a:xfrm>
                    <a:off x="7610717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7" name="Freeform 57">
                    <a:extLst>
                      <a:ext uri="{FF2B5EF4-FFF2-40B4-BE49-F238E27FC236}">
                        <a16:creationId xmlns:a16="http://schemas.microsoft.com/office/drawing/2014/main" id="{63DF78D0-AD97-3D68-7873-46473BBD4A64}"/>
                      </a:ext>
                    </a:extLst>
                  </p:cNvPr>
                  <p:cNvSpPr/>
                  <p:nvPr/>
                </p:nvSpPr>
                <p:spPr>
                  <a:xfrm>
                    <a:off x="7513454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8" name="Freeform 57">
                    <a:extLst>
                      <a:ext uri="{FF2B5EF4-FFF2-40B4-BE49-F238E27FC236}">
                        <a16:creationId xmlns:a16="http://schemas.microsoft.com/office/drawing/2014/main" id="{B5576324-55B6-40AC-8334-7A3BBD4A9047}"/>
                      </a:ext>
                    </a:extLst>
                  </p:cNvPr>
                  <p:cNvSpPr/>
                  <p:nvPr/>
                </p:nvSpPr>
                <p:spPr>
                  <a:xfrm>
                    <a:off x="7101148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9" name="Freeform 57">
                    <a:extLst>
                      <a:ext uri="{FF2B5EF4-FFF2-40B4-BE49-F238E27FC236}">
                        <a16:creationId xmlns:a16="http://schemas.microsoft.com/office/drawing/2014/main" id="{DA5B7376-5055-C86F-D3D9-5C831FD2801E}"/>
                      </a:ext>
                    </a:extLst>
                  </p:cNvPr>
                  <p:cNvSpPr/>
                  <p:nvPr/>
                </p:nvSpPr>
                <p:spPr>
                  <a:xfrm>
                    <a:off x="7064378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0" name="Freeform 57">
                    <a:extLst>
                      <a:ext uri="{FF2B5EF4-FFF2-40B4-BE49-F238E27FC236}">
                        <a16:creationId xmlns:a16="http://schemas.microsoft.com/office/drawing/2014/main" id="{EA90346F-59F5-AC4B-F43F-F1BE88C20DB3}"/>
                      </a:ext>
                    </a:extLst>
                  </p:cNvPr>
                  <p:cNvSpPr/>
                  <p:nvPr/>
                </p:nvSpPr>
                <p:spPr>
                  <a:xfrm>
                    <a:off x="7036003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1" name="Freeform 57">
                    <a:extLst>
                      <a:ext uri="{FF2B5EF4-FFF2-40B4-BE49-F238E27FC236}">
                        <a16:creationId xmlns:a16="http://schemas.microsoft.com/office/drawing/2014/main" id="{A306F178-2E91-8573-09EF-11319D13D025}"/>
                      </a:ext>
                    </a:extLst>
                  </p:cNvPr>
                  <p:cNvSpPr/>
                  <p:nvPr/>
                </p:nvSpPr>
                <p:spPr>
                  <a:xfrm>
                    <a:off x="7023615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2" name="Freeform 57">
                    <a:extLst>
                      <a:ext uri="{FF2B5EF4-FFF2-40B4-BE49-F238E27FC236}">
                        <a16:creationId xmlns:a16="http://schemas.microsoft.com/office/drawing/2014/main" id="{CE0F4734-7736-294D-95B2-EF2F9C855FB9}"/>
                      </a:ext>
                    </a:extLst>
                  </p:cNvPr>
                  <p:cNvSpPr/>
                  <p:nvPr/>
                </p:nvSpPr>
                <p:spPr>
                  <a:xfrm>
                    <a:off x="6987372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3" name="Freeform 57">
                    <a:extLst>
                      <a:ext uri="{FF2B5EF4-FFF2-40B4-BE49-F238E27FC236}">
                        <a16:creationId xmlns:a16="http://schemas.microsoft.com/office/drawing/2014/main" id="{C479E038-5111-136C-594A-E72F46AF5A3E}"/>
                      </a:ext>
                    </a:extLst>
                  </p:cNvPr>
                  <p:cNvSpPr/>
                  <p:nvPr/>
                </p:nvSpPr>
                <p:spPr>
                  <a:xfrm>
                    <a:off x="6879146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4" name="Freeform 57">
                    <a:extLst>
                      <a:ext uri="{FF2B5EF4-FFF2-40B4-BE49-F238E27FC236}">
                        <a16:creationId xmlns:a16="http://schemas.microsoft.com/office/drawing/2014/main" id="{9FADF82F-54C5-8CFD-DC12-2E3C434813B5}"/>
                      </a:ext>
                    </a:extLst>
                  </p:cNvPr>
                  <p:cNvSpPr/>
                  <p:nvPr/>
                </p:nvSpPr>
                <p:spPr>
                  <a:xfrm>
                    <a:off x="6522585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5" name="Freeform 57">
                    <a:extLst>
                      <a:ext uri="{FF2B5EF4-FFF2-40B4-BE49-F238E27FC236}">
                        <a16:creationId xmlns:a16="http://schemas.microsoft.com/office/drawing/2014/main" id="{1BCF2C6A-3EA6-EB5E-3CEB-BA969378DDC5}"/>
                      </a:ext>
                    </a:extLst>
                  </p:cNvPr>
                  <p:cNvSpPr/>
                  <p:nvPr/>
                </p:nvSpPr>
                <p:spPr>
                  <a:xfrm>
                    <a:off x="6448716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6" name="Freeform 57">
                    <a:extLst>
                      <a:ext uri="{FF2B5EF4-FFF2-40B4-BE49-F238E27FC236}">
                        <a16:creationId xmlns:a16="http://schemas.microsoft.com/office/drawing/2014/main" id="{DEF1D4FD-1FE8-9A36-4C64-E4F42D2D1A02}"/>
                      </a:ext>
                    </a:extLst>
                  </p:cNvPr>
                  <p:cNvSpPr/>
                  <p:nvPr/>
                </p:nvSpPr>
                <p:spPr>
                  <a:xfrm>
                    <a:off x="6443182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7" name="Freeform 57">
                    <a:extLst>
                      <a:ext uri="{FF2B5EF4-FFF2-40B4-BE49-F238E27FC236}">
                        <a16:creationId xmlns:a16="http://schemas.microsoft.com/office/drawing/2014/main" id="{840D840D-57D9-8606-AAC2-CF35BA245F96}"/>
                      </a:ext>
                    </a:extLst>
                  </p:cNvPr>
                  <p:cNvSpPr/>
                  <p:nvPr/>
                </p:nvSpPr>
                <p:spPr>
                  <a:xfrm>
                    <a:off x="6412486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8" name="Freeform 57">
                    <a:extLst>
                      <a:ext uri="{FF2B5EF4-FFF2-40B4-BE49-F238E27FC236}">
                        <a16:creationId xmlns:a16="http://schemas.microsoft.com/office/drawing/2014/main" id="{9D575527-820A-1399-29A2-B4AE7CFCEDEB}"/>
                      </a:ext>
                    </a:extLst>
                  </p:cNvPr>
                  <p:cNvSpPr/>
                  <p:nvPr/>
                </p:nvSpPr>
                <p:spPr>
                  <a:xfrm>
                    <a:off x="6384422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9" name="Freeform 57">
                    <a:extLst>
                      <a:ext uri="{FF2B5EF4-FFF2-40B4-BE49-F238E27FC236}">
                        <a16:creationId xmlns:a16="http://schemas.microsoft.com/office/drawing/2014/main" id="{529F3BAB-DE0B-ACCF-4E5A-83994E4EA631}"/>
                      </a:ext>
                    </a:extLst>
                  </p:cNvPr>
                  <p:cNvSpPr/>
                  <p:nvPr/>
                </p:nvSpPr>
                <p:spPr>
                  <a:xfrm>
                    <a:off x="6338724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0" name="Freeform 57">
                    <a:extLst>
                      <a:ext uri="{FF2B5EF4-FFF2-40B4-BE49-F238E27FC236}">
                        <a16:creationId xmlns:a16="http://schemas.microsoft.com/office/drawing/2014/main" id="{315A1EAC-0C54-6FCC-36DC-1069B3EA9B2C}"/>
                      </a:ext>
                    </a:extLst>
                  </p:cNvPr>
                  <p:cNvSpPr/>
                  <p:nvPr/>
                </p:nvSpPr>
                <p:spPr>
                  <a:xfrm>
                    <a:off x="5907345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1" name="Freeform 57">
                    <a:extLst>
                      <a:ext uri="{FF2B5EF4-FFF2-40B4-BE49-F238E27FC236}">
                        <a16:creationId xmlns:a16="http://schemas.microsoft.com/office/drawing/2014/main" id="{54EE3629-1A11-B574-0344-32C248909A9C}"/>
                      </a:ext>
                    </a:extLst>
                  </p:cNvPr>
                  <p:cNvSpPr/>
                  <p:nvPr/>
                </p:nvSpPr>
                <p:spPr>
                  <a:xfrm>
                    <a:off x="5887272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2" name="Freeform 57">
                    <a:extLst>
                      <a:ext uri="{FF2B5EF4-FFF2-40B4-BE49-F238E27FC236}">
                        <a16:creationId xmlns:a16="http://schemas.microsoft.com/office/drawing/2014/main" id="{4BE5689B-BE72-6714-B0A7-97950159A33D}"/>
                      </a:ext>
                    </a:extLst>
                  </p:cNvPr>
                  <p:cNvSpPr/>
                  <p:nvPr/>
                </p:nvSpPr>
                <p:spPr>
                  <a:xfrm>
                    <a:off x="5862149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3" name="Freeform 57">
                    <a:extLst>
                      <a:ext uri="{FF2B5EF4-FFF2-40B4-BE49-F238E27FC236}">
                        <a16:creationId xmlns:a16="http://schemas.microsoft.com/office/drawing/2014/main" id="{958C5291-E495-B017-D359-BEDD9431C1CC}"/>
                      </a:ext>
                    </a:extLst>
                  </p:cNvPr>
                  <p:cNvSpPr/>
                  <p:nvPr/>
                </p:nvSpPr>
                <p:spPr>
                  <a:xfrm>
                    <a:off x="5848506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4" name="Freeform 57">
                    <a:extLst>
                      <a:ext uri="{FF2B5EF4-FFF2-40B4-BE49-F238E27FC236}">
                        <a16:creationId xmlns:a16="http://schemas.microsoft.com/office/drawing/2014/main" id="{537E02A6-C106-9E5F-AD86-1180199D44A6}"/>
                      </a:ext>
                    </a:extLst>
                  </p:cNvPr>
                  <p:cNvSpPr/>
                  <p:nvPr/>
                </p:nvSpPr>
                <p:spPr>
                  <a:xfrm>
                    <a:off x="5815461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5" name="Freeform 57">
                    <a:extLst>
                      <a:ext uri="{FF2B5EF4-FFF2-40B4-BE49-F238E27FC236}">
                        <a16:creationId xmlns:a16="http://schemas.microsoft.com/office/drawing/2014/main" id="{3B4605AE-4A16-FDA2-8048-B787EA731AA5}"/>
                      </a:ext>
                    </a:extLst>
                  </p:cNvPr>
                  <p:cNvSpPr/>
                  <p:nvPr/>
                </p:nvSpPr>
                <p:spPr>
                  <a:xfrm>
                    <a:off x="5772877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6" name="Freeform 57">
                    <a:extLst>
                      <a:ext uri="{FF2B5EF4-FFF2-40B4-BE49-F238E27FC236}">
                        <a16:creationId xmlns:a16="http://schemas.microsoft.com/office/drawing/2014/main" id="{63DCD68B-72E4-5284-23AE-3691B2C4EE9F}"/>
                      </a:ext>
                    </a:extLst>
                  </p:cNvPr>
                  <p:cNvSpPr/>
                  <p:nvPr/>
                </p:nvSpPr>
                <p:spPr>
                  <a:xfrm>
                    <a:off x="5525528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7" name="Freeform 57">
                    <a:extLst>
                      <a:ext uri="{FF2B5EF4-FFF2-40B4-BE49-F238E27FC236}">
                        <a16:creationId xmlns:a16="http://schemas.microsoft.com/office/drawing/2014/main" id="{8E9FA23D-206A-BFC0-2525-E784605D2BAA}"/>
                      </a:ext>
                    </a:extLst>
                  </p:cNvPr>
                  <p:cNvSpPr/>
                  <p:nvPr/>
                </p:nvSpPr>
                <p:spPr>
                  <a:xfrm>
                    <a:off x="5328680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8" name="Freeform 57">
                    <a:extLst>
                      <a:ext uri="{FF2B5EF4-FFF2-40B4-BE49-F238E27FC236}">
                        <a16:creationId xmlns:a16="http://schemas.microsoft.com/office/drawing/2014/main" id="{44D4765F-65AB-29A2-A753-F919AA4B3052}"/>
                      </a:ext>
                    </a:extLst>
                  </p:cNvPr>
                  <p:cNvSpPr/>
                  <p:nvPr/>
                </p:nvSpPr>
                <p:spPr>
                  <a:xfrm>
                    <a:off x="5318480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9" name="Freeform 57">
                    <a:extLst>
                      <a:ext uri="{FF2B5EF4-FFF2-40B4-BE49-F238E27FC236}">
                        <a16:creationId xmlns:a16="http://schemas.microsoft.com/office/drawing/2014/main" id="{57A576CB-6C19-3CD2-943F-107B8D2263F9}"/>
                      </a:ext>
                    </a:extLst>
                  </p:cNvPr>
                  <p:cNvSpPr/>
                  <p:nvPr/>
                </p:nvSpPr>
                <p:spPr>
                  <a:xfrm>
                    <a:off x="5281962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0" name="Freeform 57">
                    <a:extLst>
                      <a:ext uri="{FF2B5EF4-FFF2-40B4-BE49-F238E27FC236}">
                        <a16:creationId xmlns:a16="http://schemas.microsoft.com/office/drawing/2014/main" id="{D2E19FAE-670E-573E-E412-8EA17358D87F}"/>
                      </a:ext>
                    </a:extLst>
                  </p:cNvPr>
                  <p:cNvSpPr/>
                  <p:nvPr/>
                </p:nvSpPr>
                <p:spPr>
                  <a:xfrm>
                    <a:off x="5268957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1" name="Freeform 57">
                    <a:extLst>
                      <a:ext uri="{FF2B5EF4-FFF2-40B4-BE49-F238E27FC236}">
                        <a16:creationId xmlns:a16="http://schemas.microsoft.com/office/drawing/2014/main" id="{DD5D3EC5-DD3C-3B01-8847-A5EEDEFC4478}"/>
                      </a:ext>
                    </a:extLst>
                  </p:cNvPr>
                  <p:cNvSpPr/>
                  <p:nvPr/>
                </p:nvSpPr>
                <p:spPr>
                  <a:xfrm>
                    <a:off x="5229585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2" name="Freeform 57">
                    <a:extLst>
                      <a:ext uri="{FF2B5EF4-FFF2-40B4-BE49-F238E27FC236}">
                        <a16:creationId xmlns:a16="http://schemas.microsoft.com/office/drawing/2014/main" id="{056AFED7-22A1-B842-7C66-E38AAF0171E3}"/>
                      </a:ext>
                    </a:extLst>
                  </p:cNvPr>
                  <p:cNvSpPr/>
                  <p:nvPr/>
                </p:nvSpPr>
                <p:spPr>
                  <a:xfrm>
                    <a:off x="5220521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3" name="Freeform 57">
                    <a:extLst>
                      <a:ext uri="{FF2B5EF4-FFF2-40B4-BE49-F238E27FC236}">
                        <a16:creationId xmlns:a16="http://schemas.microsoft.com/office/drawing/2014/main" id="{C026AB31-C5D1-AA49-D5E2-CDBF8E511807}"/>
                      </a:ext>
                    </a:extLst>
                  </p:cNvPr>
                  <p:cNvSpPr/>
                  <p:nvPr/>
                </p:nvSpPr>
                <p:spPr>
                  <a:xfrm>
                    <a:off x="5160864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4" name="Freeform 57">
                    <a:extLst>
                      <a:ext uri="{FF2B5EF4-FFF2-40B4-BE49-F238E27FC236}">
                        <a16:creationId xmlns:a16="http://schemas.microsoft.com/office/drawing/2014/main" id="{8646F1B4-1E2C-D918-D8CD-5EC09EA0EED6}"/>
                      </a:ext>
                    </a:extLst>
                  </p:cNvPr>
                  <p:cNvSpPr/>
                  <p:nvPr/>
                </p:nvSpPr>
                <p:spPr>
                  <a:xfrm>
                    <a:off x="5210005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5" name="Freeform 57">
                    <a:extLst>
                      <a:ext uri="{FF2B5EF4-FFF2-40B4-BE49-F238E27FC236}">
                        <a16:creationId xmlns:a16="http://schemas.microsoft.com/office/drawing/2014/main" id="{4D4216BD-B98A-A10A-4F0C-F4FF7B0990EA}"/>
                      </a:ext>
                    </a:extLst>
                  </p:cNvPr>
                  <p:cNvSpPr/>
                  <p:nvPr/>
                </p:nvSpPr>
                <p:spPr>
                  <a:xfrm>
                    <a:off x="4748558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6" name="Freeform 57">
                    <a:extLst>
                      <a:ext uri="{FF2B5EF4-FFF2-40B4-BE49-F238E27FC236}">
                        <a16:creationId xmlns:a16="http://schemas.microsoft.com/office/drawing/2014/main" id="{1439D404-BB2F-75EF-C1E1-7B447B825125}"/>
                      </a:ext>
                    </a:extLst>
                  </p:cNvPr>
                  <p:cNvSpPr/>
                  <p:nvPr/>
                </p:nvSpPr>
                <p:spPr>
                  <a:xfrm>
                    <a:off x="4704214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7" name="Freeform 57">
                    <a:extLst>
                      <a:ext uri="{FF2B5EF4-FFF2-40B4-BE49-F238E27FC236}">
                        <a16:creationId xmlns:a16="http://schemas.microsoft.com/office/drawing/2014/main" id="{CDEB6C46-C156-3323-B089-10F67E46F7F6}"/>
                      </a:ext>
                    </a:extLst>
                  </p:cNvPr>
                  <p:cNvSpPr/>
                  <p:nvPr/>
                </p:nvSpPr>
                <p:spPr>
                  <a:xfrm>
                    <a:off x="4663111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8" name="Freeform 57">
                    <a:extLst>
                      <a:ext uri="{FF2B5EF4-FFF2-40B4-BE49-F238E27FC236}">
                        <a16:creationId xmlns:a16="http://schemas.microsoft.com/office/drawing/2014/main" id="{B472B967-5019-64F8-B830-F51FC2FB96F4}"/>
                      </a:ext>
                    </a:extLst>
                  </p:cNvPr>
                  <p:cNvSpPr/>
                  <p:nvPr/>
                </p:nvSpPr>
                <p:spPr>
                  <a:xfrm>
                    <a:off x="3623003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9" name="Freeform 57">
                    <a:extLst>
                      <a:ext uri="{FF2B5EF4-FFF2-40B4-BE49-F238E27FC236}">
                        <a16:creationId xmlns:a16="http://schemas.microsoft.com/office/drawing/2014/main" id="{5439FD5F-66E0-00AD-4193-372630702BE0}"/>
                      </a:ext>
                    </a:extLst>
                  </p:cNvPr>
                  <p:cNvSpPr/>
                  <p:nvPr/>
                </p:nvSpPr>
                <p:spPr>
                  <a:xfrm>
                    <a:off x="3584500" y="1688091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0" name="Freeform 57">
                    <a:extLst>
                      <a:ext uri="{FF2B5EF4-FFF2-40B4-BE49-F238E27FC236}">
                        <a16:creationId xmlns:a16="http://schemas.microsoft.com/office/drawing/2014/main" id="{CA4A95B1-8DBD-F25E-5A46-28D8BFC42AF8}"/>
                      </a:ext>
                    </a:extLst>
                  </p:cNvPr>
                  <p:cNvSpPr/>
                  <p:nvPr/>
                </p:nvSpPr>
                <p:spPr>
                  <a:xfrm>
                    <a:off x="3404621" y="1648763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1" name="Freeform 57">
                    <a:extLst>
                      <a:ext uri="{FF2B5EF4-FFF2-40B4-BE49-F238E27FC236}">
                        <a16:creationId xmlns:a16="http://schemas.microsoft.com/office/drawing/2014/main" id="{2CE9CD76-1039-7BC8-561A-D24C495B39C6}"/>
                      </a:ext>
                    </a:extLst>
                  </p:cNvPr>
                  <p:cNvSpPr/>
                  <p:nvPr/>
                </p:nvSpPr>
                <p:spPr>
                  <a:xfrm>
                    <a:off x="3015229" y="1648763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2" name="Freeform 57">
                    <a:extLst>
                      <a:ext uri="{FF2B5EF4-FFF2-40B4-BE49-F238E27FC236}">
                        <a16:creationId xmlns:a16="http://schemas.microsoft.com/office/drawing/2014/main" id="{FEAC8DD7-EE48-E17D-47EA-4C159BFFA33E}"/>
                      </a:ext>
                    </a:extLst>
                  </p:cNvPr>
                  <p:cNvSpPr/>
                  <p:nvPr/>
                </p:nvSpPr>
                <p:spPr>
                  <a:xfrm>
                    <a:off x="2959544" y="1648763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3" name="Freeform 57">
                    <a:extLst>
                      <a:ext uri="{FF2B5EF4-FFF2-40B4-BE49-F238E27FC236}">
                        <a16:creationId xmlns:a16="http://schemas.microsoft.com/office/drawing/2014/main" id="{0B57D3CD-FCE8-6055-5982-F1502930290A}"/>
                      </a:ext>
                    </a:extLst>
                  </p:cNvPr>
                  <p:cNvSpPr/>
                  <p:nvPr/>
                </p:nvSpPr>
                <p:spPr>
                  <a:xfrm>
                    <a:off x="2919930" y="1648763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4" name="Freeform 57">
                    <a:extLst>
                      <a:ext uri="{FF2B5EF4-FFF2-40B4-BE49-F238E27FC236}">
                        <a16:creationId xmlns:a16="http://schemas.microsoft.com/office/drawing/2014/main" id="{7E0A3565-25DA-E937-2D38-ED6DF13B948B}"/>
                      </a:ext>
                    </a:extLst>
                  </p:cNvPr>
                  <p:cNvSpPr/>
                  <p:nvPr/>
                </p:nvSpPr>
                <p:spPr>
                  <a:xfrm>
                    <a:off x="2371400" y="1648763"/>
                    <a:ext cx="69199" cy="97042"/>
                  </a:xfrm>
                  <a:custGeom>
                    <a:avLst/>
                    <a:gdLst>
                      <a:gd name="connsiteX0" fmla="*/ 24814 w 59391"/>
                      <a:gd name="connsiteY0" fmla="*/ 28641 h 49259"/>
                      <a:gd name="connsiteX1" fmla="*/ 24814 w 59391"/>
                      <a:gd name="connsiteY1" fmla="*/ 49259 h 49259"/>
                      <a:gd name="connsiteX2" fmla="*/ 34577 w 59391"/>
                      <a:gd name="connsiteY2" fmla="*/ 49259 h 49259"/>
                      <a:gd name="connsiteX3" fmla="*/ 34577 w 59391"/>
                      <a:gd name="connsiteY3" fmla="*/ 28641 h 49259"/>
                      <a:gd name="connsiteX4" fmla="*/ 59391 w 59391"/>
                      <a:gd name="connsiteY4" fmla="*/ 28641 h 49259"/>
                      <a:gd name="connsiteX5" fmla="*/ 59391 w 59391"/>
                      <a:gd name="connsiteY5" fmla="*/ 20719 h 49259"/>
                      <a:gd name="connsiteX6" fmla="*/ 34577 w 59391"/>
                      <a:gd name="connsiteY6" fmla="*/ 20719 h 49259"/>
                      <a:gd name="connsiteX7" fmla="*/ 34577 w 59391"/>
                      <a:gd name="connsiteY7" fmla="*/ 0 h 49259"/>
                      <a:gd name="connsiteX8" fmla="*/ 24814 w 59391"/>
                      <a:gd name="connsiteY8" fmla="*/ 0 h 49259"/>
                      <a:gd name="connsiteX9" fmla="*/ 24814 w 59391"/>
                      <a:gd name="connsiteY9" fmla="*/ 20719 h 49259"/>
                      <a:gd name="connsiteX10" fmla="*/ 0 w 59391"/>
                      <a:gd name="connsiteY10" fmla="*/ 20719 h 49259"/>
                      <a:gd name="connsiteX11" fmla="*/ 0 w 59391"/>
                      <a:gd name="connsiteY11" fmla="*/ 28641 h 49259"/>
                      <a:gd name="connsiteX12" fmla="*/ 24814 w 59391"/>
                      <a:gd name="connsiteY12" fmla="*/ 28641 h 49259"/>
                      <a:gd name="connsiteX13" fmla="*/ 24814 w 59391"/>
                      <a:gd name="connsiteY13" fmla="*/ 28641 h 492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9391" h="49259">
                        <a:moveTo>
                          <a:pt x="24814" y="28641"/>
                        </a:moveTo>
                        <a:lnTo>
                          <a:pt x="24814" y="49259"/>
                        </a:lnTo>
                        <a:lnTo>
                          <a:pt x="34577" y="49259"/>
                        </a:lnTo>
                        <a:lnTo>
                          <a:pt x="34577" y="28641"/>
                        </a:lnTo>
                        <a:lnTo>
                          <a:pt x="59391" y="28641"/>
                        </a:lnTo>
                        <a:lnTo>
                          <a:pt x="59391" y="20719"/>
                        </a:lnTo>
                        <a:lnTo>
                          <a:pt x="34577" y="20719"/>
                        </a:lnTo>
                        <a:lnTo>
                          <a:pt x="34577" y="0"/>
                        </a:lnTo>
                        <a:lnTo>
                          <a:pt x="24814" y="0"/>
                        </a:lnTo>
                        <a:lnTo>
                          <a:pt x="24814" y="20719"/>
                        </a:lnTo>
                        <a:lnTo>
                          <a:pt x="0" y="20719"/>
                        </a:lnTo>
                        <a:lnTo>
                          <a:pt x="0" y="28641"/>
                        </a:lnTo>
                        <a:lnTo>
                          <a:pt x="24814" y="28641"/>
                        </a:lnTo>
                        <a:lnTo>
                          <a:pt x="24814" y="28641"/>
                        </a:lnTo>
                        <a:close/>
                      </a:path>
                    </a:pathLst>
                  </a:custGeom>
                  <a:solidFill>
                    <a:srgbClr val="E21D38"/>
                  </a:solidFill>
                  <a:ln w="10165" cap="flat">
                    <a:solidFill>
                      <a:srgbClr val="E31837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360" name="Freeform 11">
                  <a:extLst>
                    <a:ext uri="{FF2B5EF4-FFF2-40B4-BE49-F238E27FC236}">
                      <a16:creationId xmlns:a16="http://schemas.microsoft.com/office/drawing/2014/main" id="{83D83C93-AD1E-99B8-999D-5EB178FE0149}"/>
                    </a:ext>
                  </a:extLst>
                </p:cNvPr>
                <p:cNvSpPr/>
                <p:nvPr/>
              </p:nvSpPr>
              <p:spPr>
                <a:xfrm>
                  <a:off x="2411240" y="1693076"/>
                  <a:ext cx="445997" cy="2734069"/>
                </a:xfrm>
                <a:custGeom>
                  <a:avLst/>
                  <a:gdLst>
                    <a:gd name="connsiteX0" fmla="*/ 0 w 390474"/>
                    <a:gd name="connsiteY0" fmla="*/ 0 h 3504807"/>
                    <a:gd name="connsiteX1" fmla="*/ 212940 w 390474"/>
                    <a:gd name="connsiteY1" fmla="*/ 0 h 3504807"/>
                    <a:gd name="connsiteX2" fmla="*/ 212940 w 390474"/>
                    <a:gd name="connsiteY2" fmla="*/ 1752404 h 3504807"/>
                    <a:gd name="connsiteX3" fmla="*/ 390475 w 390474"/>
                    <a:gd name="connsiteY3" fmla="*/ 1752404 h 3504807"/>
                    <a:gd name="connsiteX4" fmla="*/ 390475 w 390474"/>
                    <a:gd name="connsiteY4" fmla="*/ 3504808 h 3504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0474" h="3504807">
                      <a:moveTo>
                        <a:pt x="0" y="0"/>
                      </a:moveTo>
                      <a:lnTo>
                        <a:pt x="212940" y="0"/>
                      </a:lnTo>
                      <a:lnTo>
                        <a:pt x="212940" y="1752404"/>
                      </a:lnTo>
                      <a:lnTo>
                        <a:pt x="390475" y="1752404"/>
                      </a:lnTo>
                      <a:lnTo>
                        <a:pt x="390475" y="3504808"/>
                      </a:lnTo>
                    </a:path>
                  </a:pathLst>
                </a:custGeom>
                <a:noFill/>
                <a:ln w="27051" cap="sq">
                  <a:solidFill>
                    <a:srgbClr val="4D4D4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21" name="object 65">
                <a:extLst>
                  <a:ext uri="{FF2B5EF4-FFF2-40B4-BE49-F238E27FC236}">
                    <a16:creationId xmlns:a16="http://schemas.microsoft.com/office/drawing/2014/main" id="{DAD12D52-8E41-B5C9-F4B3-505A60E0CE49}"/>
                  </a:ext>
                </a:extLst>
              </p:cNvPr>
              <p:cNvSpPr txBox="1"/>
              <p:nvPr/>
            </p:nvSpPr>
            <p:spPr>
              <a:xfrm>
                <a:off x="9477583" y="3590607"/>
                <a:ext cx="1669044" cy="16671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Helvetica"/>
                  </a:rPr>
                  <a:t>+ Censored</a:t>
                </a: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E0BB5295-E67C-DEFB-7F6A-0717E308B403}"/>
              </a:ext>
            </a:extLst>
          </p:cNvPr>
          <p:cNvSpPr/>
          <p:nvPr/>
        </p:nvSpPr>
        <p:spPr>
          <a:xfrm>
            <a:off x="2824931" y="686034"/>
            <a:ext cx="459579" cy="193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D74625-174B-E5FD-25D5-CD7DEFA08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205245"/>
            <a:ext cx="10972800" cy="643889"/>
          </a:xfrm>
        </p:spPr>
        <p:txBody>
          <a:bodyPr>
            <a:noAutofit/>
          </a:bodyPr>
          <a:lstStyle/>
          <a:p>
            <a:r>
              <a:rPr lang="en-US" sz="2500" dirty="0"/>
              <a:t>DMFS by ctDNA Status at Baselin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005337-442E-A004-1FAC-966774725051}"/>
              </a:ext>
            </a:extLst>
          </p:cNvPr>
          <p:cNvSpPr/>
          <p:nvPr/>
        </p:nvSpPr>
        <p:spPr>
          <a:xfrm>
            <a:off x="9485743" y="4707133"/>
            <a:ext cx="2512085" cy="1347016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e LBA9515 presented by Matteo S. Carlino on 03Jun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imal residual disease by circulating tumor DNA as a biomarker of recurrence free survival in resected high-risk melanoma patients treated with mRNA-4157 (V940), a personalized cancer vaccine, and pembrolizumab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66C30F-64E6-010B-DA73-B65033A0481A}"/>
              </a:ext>
            </a:extLst>
          </p:cNvPr>
          <p:cNvSpPr/>
          <p:nvPr/>
        </p:nvSpPr>
        <p:spPr>
          <a:xfrm>
            <a:off x="9742660" y="3688309"/>
            <a:ext cx="668931" cy="4402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A5E977E-63CA-82EB-F8E1-FE0A7C57D3B1}"/>
              </a:ext>
            </a:extLst>
          </p:cNvPr>
          <p:cNvCxnSpPr>
            <a:cxnSpLocks/>
          </p:cNvCxnSpPr>
          <p:nvPr/>
        </p:nvCxnSpPr>
        <p:spPr>
          <a:xfrm>
            <a:off x="3154675" y="4128576"/>
            <a:ext cx="6598827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5083999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7929FB9-E554-5D6B-63BD-8A0D85353A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635" imgH="635" progId="TCLayout.ActiveDocument.1">
                  <p:embed/>
                </p:oleObj>
              </mc:Choice>
              <mc:Fallback>
                <p:oleObj name="think-cell Slide" r:id="rId5" imgW="635" imgH="63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7929FB9-E554-5D6B-63BD-8A0D85353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E22ED9A-DE17-EDF0-988A-FAE003B7D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600" dirty="0"/>
              <a:t>mRNA-4157-P201/KEYNOTE-942 Safety and Tolerability</a:t>
            </a:r>
            <a:r>
              <a:rPr lang="en-US" sz="2600" baseline="30000" dirty="0"/>
              <a:t>1</a:t>
            </a:r>
            <a:endParaRPr lang="en-US" sz="2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B2F37B-FF75-13A0-BEF9-FEDB50177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6F896B4A-66F4-420A-A099-F174BF1A0A20}" type="slidenum">
              <a:rPr lang="en-US" noProof="0" smtClean="0"/>
              <a:pPr lvl="0"/>
              <a:t>11</a:t>
            </a:fld>
            <a:endParaRPr lang="en-US" noProof="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155B36F-A794-C408-1A39-C72E624024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graphicFrame>
        <p:nvGraphicFramePr>
          <p:cNvPr id="3" name="Table 10">
            <a:extLst>
              <a:ext uri="{FF2B5EF4-FFF2-40B4-BE49-F238E27FC236}">
                <a16:creationId xmlns:a16="http://schemas.microsoft.com/office/drawing/2014/main" id="{B8CF3CB6-4E21-ECD2-49E6-ACC41F9E31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8620170"/>
              </p:ext>
            </p:extLst>
          </p:nvPr>
        </p:nvGraphicFramePr>
        <p:xfrm>
          <a:off x="1211028" y="941574"/>
          <a:ext cx="9538718" cy="4765219"/>
        </p:xfrm>
        <a:graphic>
          <a:graphicData uri="http://schemas.openxmlformats.org/drawingml/2006/table">
            <a:tbl>
              <a:tblPr firstRow="1" bandRow="1"/>
              <a:tblGrid>
                <a:gridCol w="3133483">
                  <a:extLst>
                    <a:ext uri="{9D8B030D-6E8A-4147-A177-3AD203B41FA5}">
                      <a16:colId xmlns:a16="http://schemas.microsoft.com/office/drawing/2014/main" val="621311205"/>
                    </a:ext>
                  </a:extLst>
                </a:gridCol>
                <a:gridCol w="1848976">
                  <a:extLst>
                    <a:ext uri="{9D8B030D-6E8A-4147-A177-3AD203B41FA5}">
                      <a16:colId xmlns:a16="http://schemas.microsoft.com/office/drawing/2014/main" val="1029395902"/>
                    </a:ext>
                  </a:extLst>
                </a:gridCol>
                <a:gridCol w="1518753">
                  <a:extLst>
                    <a:ext uri="{9D8B030D-6E8A-4147-A177-3AD203B41FA5}">
                      <a16:colId xmlns:a16="http://schemas.microsoft.com/office/drawing/2014/main" val="1166763320"/>
                    </a:ext>
                  </a:extLst>
                </a:gridCol>
                <a:gridCol w="1518753">
                  <a:extLst>
                    <a:ext uri="{9D8B030D-6E8A-4147-A177-3AD203B41FA5}">
                      <a16:colId xmlns:a16="http://schemas.microsoft.com/office/drawing/2014/main" val="2477179711"/>
                    </a:ext>
                  </a:extLst>
                </a:gridCol>
                <a:gridCol w="1518753">
                  <a:extLst>
                    <a:ext uri="{9D8B030D-6E8A-4147-A177-3AD203B41FA5}">
                      <a16:colId xmlns:a16="http://schemas.microsoft.com/office/drawing/2014/main" val="3383662698"/>
                    </a:ext>
                  </a:extLst>
                </a:gridCol>
              </a:tblGrid>
              <a:tr h="3155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>
                        <a:lnSpc>
                          <a:spcPts val="1000"/>
                        </a:lnSpc>
                      </a:pP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mRNA-4157 (V940) + pembro (n = 104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>
                        <a:latin typeface="+mn-lt"/>
                      </a:endParaRPr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embro (n = 50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0011848"/>
                  </a:ext>
                </a:extLst>
              </a:tr>
              <a:tr h="221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Event, n (%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Any grad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Grade </a:t>
                      </a: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  <a:sym typeface="Symbol" panose="05050102010706020507" pitchFamily="18" charset="2"/>
                        </a:rPr>
                        <a:t>3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Any grad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Grade </a:t>
                      </a: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  <a:sym typeface="Symbol" panose="05050102010706020507" pitchFamily="18" charset="2"/>
                        </a:rPr>
                        <a:t>3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9545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Any A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4 (100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 (34.6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7 (94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 (36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6119049"/>
                  </a:ext>
                </a:extLst>
              </a:tr>
              <a:tr h="221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Any treatment-related A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4 (100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 (25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 (82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 (18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397020"/>
                  </a:ext>
                </a:extLst>
              </a:tr>
              <a:tr h="221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Serious AE</a:t>
                      </a:r>
                      <a:r>
                        <a:rPr lang="en-US" sz="1050" b="1" kern="1200" baseline="300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a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 (14.4)</a:t>
                      </a:r>
                      <a:endParaRPr lang="en-US" sz="105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/>
                        </a:rPr>
                        <a:t>13 (12.5%)</a:t>
                      </a:r>
                      <a:r>
                        <a:rPr lang="en-US" sz="1050" b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5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(10.0)</a:t>
                      </a:r>
                      <a:endParaRPr lang="en-US" sz="105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/>
                        </a:rPr>
                        <a:t>4 (8.0%)</a:t>
                      </a:r>
                      <a:endParaRPr lang="en-US" sz="105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013796"/>
                  </a:ext>
                </a:extLst>
              </a:tr>
              <a:tr h="254241">
                <a:tc grid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mRNA-4157 (V940) or combination-related AEs</a:t>
                      </a:r>
                      <a:r>
                        <a:rPr lang="en-US" sz="1050" b="1" baseline="30000" dirty="0">
                          <a:solidFill>
                            <a:schemeClr val="tx1"/>
                          </a:solidFill>
                          <a:latin typeface="+mn-lt"/>
                        </a:rPr>
                        <a:t>b</a:t>
                      </a:r>
                      <a:r>
                        <a:rPr lang="en-US" sz="105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occurring in &gt;20% of patients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50640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y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8 (94.2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 (11.5)</a:t>
                      </a:r>
                      <a:endParaRPr lang="en-US" sz="105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886242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atigue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3 (60.6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(4.8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646987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jection site pain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8 (55.8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17829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ills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 (50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40026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yrexia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 (48.1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(1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910018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adache 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 (31.7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929896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jection site erythema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 (31.7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153837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fluenza-like illness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 (30.8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1102297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usea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 (25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162188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yalgia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 (21.2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(1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85016"/>
                  </a:ext>
                </a:extLst>
              </a:tr>
              <a:tr h="263010">
                <a:tc grid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>
                        <a:lnSpc>
                          <a:spcPts val="1000"/>
                        </a:lnSpc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embro or combination related AEs</a:t>
                      </a:r>
                      <a:r>
                        <a:rPr lang="en-US" sz="1050" b="1" baseline="30000" dirty="0">
                          <a:solidFill>
                            <a:schemeClr val="tx1"/>
                          </a:solidFill>
                          <a:latin typeface="+mn-lt"/>
                        </a:rPr>
                        <a:t>c</a:t>
                      </a:r>
                      <a:r>
                        <a:rPr lang="en-US" sz="105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occurring in &gt;20% of patients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>
                        <a:latin typeface="+mn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latin typeface="+mn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latin typeface="+mn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latin typeface="+mn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11794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y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1 (97.1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 (23.1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 (82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 (18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5820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atigue 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2 (69.2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 (5.8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 (40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380273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arrhea 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 (29.8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 (1.9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(10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691943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uritus 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 (28.8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 (20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818691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usea 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 (22.1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(10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225898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ills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 (21.2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(2.0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6899080"/>
                  </a:ext>
                </a:extLst>
              </a:tr>
              <a:tr h="17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algn="l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yrexia 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 (21.2)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85556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E345CC0-3155-3F77-2B85-819B6B80628C}"/>
              </a:ext>
            </a:extLst>
          </p:cNvPr>
          <p:cNvSpPr txBox="1"/>
          <p:nvPr/>
        </p:nvSpPr>
        <p:spPr>
          <a:xfrm>
            <a:off x="609600" y="5727710"/>
            <a:ext cx="11348450" cy="523220"/>
          </a:xfrm>
          <a:prstGeom prst="rect">
            <a:avLst/>
          </a:prstGeom>
          <a:noFill/>
        </p:spPr>
        <p:txBody>
          <a:bodyPr wrap="square" lIns="91440" tIns="45720" rIns="91440" bIns="45720" anchor="b">
            <a:spAutoFit/>
          </a:bodyPr>
          <a:lstStyle/>
          <a:p>
            <a:r>
              <a:rPr lang="en-US" sz="700" dirty="0">
                <a:solidFill>
                  <a:srgbClr val="002557"/>
                </a:solidFill>
              </a:rPr>
              <a:t>Safety analyses were conducted in the safety population, which was defined as all randomly assigned patients who received ≥1 dose of treatment. Grading per National Cancer Institute Common Terminology Criteria for Adverse Events version 5.0. </a:t>
            </a:r>
            <a:r>
              <a:rPr lang="en-US" sz="700" baseline="30000" dirty="0">
                <a:solidFill>
                  <a:srgbClr val="002557"/>
                </a:solidFill>
              </a:rPr>
              <a:t>a</a:t>
            </a:r>
            <a:r>
              <a:rPr lang="en-US" sz="700" dirty="0">
                <a:solidFill>
                  <a:srgbClr val="002557"/>
                </a:solidFill>
              </a:rPr>
              <a:t>Serious AEs included grade 1 fever, attributed to mRNA-4157 (V940), and grade 3 muscular weakness and grade 3 autoimmune nephritis, attributed to both mRNA-4157 (V940) and pembrolizumab. </a:t>
            </a:r>
            <a:r>
              <a:rPr lang="en-US" sz="700" baseline="30000" dirty="0">
                <a:solidFill>
                  <a:srgbClr val="002557"/>
                </a:solidFill>
              </a:rPr>
              <a:t>b</a:t>
            </a:r>
            <a:r>
              <a:rPr lang="en-US" sz="700" dirty="0">
                <a:solidFill>
                  <a:srgbClr val="002557"/>
                </a:solidFill>
              </a:rPr>
              <a:t>mRNA-4157 (V940) treatment-related AEs included events attributed by the investigator to mRNA-4157 (V940) alone as well as events attributed to both mRNA-4157 (V940) and pembrolizumab. </a:t>
            </a:r>
            <a:r>
              <a:rPr lang="en-US" sz="700" baseline="30000" dirty="0">
                <a:solidFill>
                  <a:srgbClr val="002557"/>
                </a:solidFill>
              </a:rPr>
              <a:t>c</a:t>
            </a:r>
            <a:r>
              <a:rPr lang="en-US" sz="700" dirty="0">
                <a:solidFill>
                  <a:srgbClr val="002557"/>
                </a:solidFill>
              </a:rPr>
              <a:t>AEs related to pembrolizumab include events attributed by the investigator to pembrolizumab alone and events attributed to both pembrolizumab and mRNA-4157 (V940)..</a:t>
            </a:r>
          </a:p>
          <a:p>
            <a:r>
              <a:rPr lang="en-US" sz="700" dirty="0">
                <a:solidFill>
                  <a:srgbClr val="002557"/>
                </a:solidFill>
              </a:rPr>
              <a:t>1. Khattak A, et al. Presented at the American Association for Cancer Research</a:t>
            </a:r>
            <a:r>
              <a:rPr lang="en-US" sz="700" baseline="30000" dirty="0">
                <a:solidFill>
                  <a:srgbClr val="002557"/>
                </a:solidFill>
              </a:rPr>
              <a:t>®</a:t>
            </a:r>
            <a:r>
              <a:rPr lang="en-US" sz="700" dirty="0">
                <a:solidFill>
                  <a:srgbClr val="002557"/>
                </a:solidFill>
              </a:rPr>
              <a:t> (AACR) Annual Meeting; April 14-19, 2023; Orlando, FL, USA. Oral presentation CT001.</a:t>
            </a:r>
          </a:p>
        </p:txBody>
      </p:sp>
    </p:spTree>
    <p:extLst>
      <p:ext uri="{BB962C8B-B14F-4D97-AF65-F5344CB8AC3E}">
        <p14:creationId xmlns:p14="http://schemas.microsoft.com/office/powerpoint/2010/main" val="29434596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7929FB9-E554-5D6B-63BD-8A0D85353A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635" imgH="635" progId="TCLayout.ActiveDocument.1">
                  <p:embed/>
                </p:oleObj>
              </mc:Choice>
              <mc:Fallback>
                <p:oleObj name="think-cell Slide" r:id="rId5" imgW="635" imgH="63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7929FB9-E554-5D6B-63BD-8A0D85353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E22ED9A-DE17-EDF0-988A-FAE003B7D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600" dirty="0"/>
              <a:t>mRNA-4157-P201/KEYNOTE-942 Safety and Tolera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B2F37B-FF75-13A0-BEF9-FEDB50177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96B4A-66F4-420A-A099-F174BF1A0A2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155B36F-A794-C408-1A39-C72E624024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graphicFrame>
        <p:nvGraphicFramePr>
          <p:cNvPr id="5" name="Table 10">
            <a:extLst>
              <a:ext uri="{FF2B5EF4-FFF2-40B4-BE49-F238E27FC236}">
                <a16:creationId xmlns:a16="http://schemas.microsoft.com/office/drawing/2014/main" id="{1FB7CEEF-2CB2-E3B2-0C82-51DB241E70F3}"/>
              </a:ext>
            </a:extLst>
          </p:cNvPr>
          <p:cNvGraphicFramePr>
            <a:graphicFrameLocks/>
          </p:cNvGraphicFramePr>
          <p:nvPr/>
        </p:nvGraphicFramePr>
        <p:xfrm>
          <a:off x="949094" y="1661227"/>
          <a:ext cx="10293812" cy="3474720"/>
        </p:xfrm>
        <a:graphic>
          <a:graphicData uri="http://schemas.openxmlformats.org/drawingml/2006/table">
            <a:tbl>
              <a:tblPr firstRow="1" bandRow="1"/>
              <a:tblGrid>
                <a:gridCol w="3377719">
                  <a:extLst>
                    <a:ext uri="{9D8B030D-6E8A-4147-A177-3AD203B41FA5}">
                      <a16:colId xmlns:a16="http://schemas.microsoft.com/office/drawing/2014/main" val="621311205"/>
                    </a:ext>
                  </a:extLst>
                </a:gridCol>
                <a:gridCol w="1999156">
                  <a:extLst>
                    <a:ext uri="{9D8B030D-6E8A-4147-A177-3AD203B41FA5}">
                      <a16:colId xmlns:a16="http://schemas.microsoft.com/office/drawing/2014/main" val="1029395902"/>
                    </a:ext>
                  </a:extLst>
                </a:gridCol>
                <a:gridCol w="1638979">
                  <a:extLst>
                    <a:ext uri="{9D8B030D-6E8A-4147-A177-3AD203B41FA5}">
                      <a16:colId xmlns:a16="http://schemas.microsoft.com/office/drawing/2014/main" val="1166763320"/>
                    </a:ext>
                  </a:extLst>
                </a:gridCol>
                <a:gridCol w="1638979">
                  <a:extLst>
                    <a:ext uri="{9D8B030D-6E8A-4147-A177-3AD203B41FA5}">
                      <a16:colId xmlns:a16="http://schemas.microsoft.com/office/drawing/2014/main" val="2477179711"/>
                    </a:ext>
                  </a:extLst>
                </a:gridCol>
                <a:gridCol w="1638979">
                  <a:extLst>
                    <a:ext uri="{9D8B030D-6E8A-4147-A177-3AD203B41FA5}">
                      <a16:colId xmlns:a16="http://schemas.microsoft.com/office/drawing/2014/main" val="3383662698"/>
                    </a:ext>
                  </a:extLst>
                </a:gridCol>
              </a:tblGrid>
              <a:tr h="2593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-cause immune-mediated A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mRNA-4157 (V940) + pembro (n = 104)</a:t>
                      </a:r>
                    </a:p>
                  </a:txBody>
                  <a:tcPr marL="83127" marR="8312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>
                        <a:latin typeface="+mn-lt"/>
                      </a:endParaRPr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pembro (n = 50)</a:t>
                      </a:r>
                    </a:p>
                  </a:txBody>
                  <a:tcPr marL="83127" marR="8312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0011848"/>
                  </a:ext>
                </a:extLst>
              </a:tr>
              <a:tr h="2593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latin typeface="+mn-lt"/>
                        </a:rPr>
                        <a:t>Event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latin typeface="+mn-lt"/>
                        </a:rPr>
                        <a:t>Any gr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latin typeface="+mn-lt"/>
                        </a:rPr>
                        <a:t>Grade </a:t>
                      </a:r>
                      <a:r>
                        <a:rPr lang="en-US" sz="1200" b="1" dirty="0">
                          <a:latin typeface="+mn-lt"/>
                          <a:sym typeface="Symbol" panose="05050102010706020507" pitchFamily="18" charset="2"/>
                        </a:rPr>
                        <a:t>3</a:t>
                      </a:r>
                      <a:r>
                        <a:rPr lang="en-US" sz="1200" b="1" baseline="30000" dirty="0">
                          <a:latin typeface="+mn-lt"/>
                          <a:sym typeface="Symbol" panose="05050102010706020507" pitchFamily="18" charset="2"/>
                        </a:rPr>
                        <a:t>a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latin typeface="+mn-lt"/>
                        </a:rPr>
                        <a:t>Any gr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latin typeface="+mn-lt"/>
                        </a:rPr>
                        <a:t>Grade </a:t>
                      </a:r>
                      <a:r>
                        <a:rPr lang="en-US" sz="1200" b="1" dirty="0">
                          <a:latin typeface="+mn-lt"/>
                          <a:sym typeface="Symbol" panose="05050102010706020507" pitchFamily="18" charset="2"/>
                        </a:rPr>
                        <a:t>3</a:t>
                      </a:r>
                      <a:r>
                        <a:rPr lang="en-US" sz="1200" b="1" baseline="30000" dirty="0">
                          <a:latin typeface="+mn-lt"/>
                          <a:sym typeface="Symbol" panose="05050102010706020507" pitchFamily="18" charset="2"/>
                        </a:rPr>
                        <a:t>b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8720559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</a:rPr>
                        <a:t>Any</a:t>
                      </a:r>
                      <a:r>
                        <a:rPr lang="en-US" sz="1200" dirty="0">
                          <a:effectLst/>
                          <a:latin typeface="+mn-lt"/>
                        </a:rPr>
                        <a:t> 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7 (35.6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 (10.6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8 (36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 (14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886242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drenal insufficiency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 (4.8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 (3.8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371600" marR="0" indent="-137160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(4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371600" marR="0" indent="-137160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646987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liti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 (5.8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 (2.9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(4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17829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epatiti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1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40026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yperthyroidism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 (5.8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 (6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910018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ypophysiti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1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929896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</a:rPr>
                        <a:t>Hypothyroidism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1 (20.2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 (16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153837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</a:rPr>
                        <a:t>Myositis 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1102297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</a:rPr>
                        <a:t>Nephritis 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 (2.9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 (2.9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162188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ncreatiti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85016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neumoniti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 (3.8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1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5820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arcoidosi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380273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vere skin reactio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 (2.9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691943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yroiditi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(4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818691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ype 1 diabetes mellitu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225898"/>
                  </a:ext>
                </a:extLst>
              </a:tr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Uveiti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1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(2.0)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6899080"/>
                  </a:ext>
                </a:extLst>
              </a:tr>
            </a:tbl>
          </a:graphicData>
        </a:graphic>
      </p:graphicFrame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33C8804-15D5-A4FD-F47B-C883CBCBC540}"/>
              </a:ext>
            </a:extLst>
          </p:cNvPr>
          <p:cNvSpPr txBox="1">
            <a:spLocks/>
          </p:cNvSpPr>
          <p:nvPr/>
        </p:nvSpPr>
        <p:spPr>
          <a:xfrm>
            <a:off x="640080" y="1036172"/>
            <a:ext cx="10972800" cy="481598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Char char="§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Char char="o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88" marR="0" lvl="0" indent="-23018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76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50" b="0" i="0" u="none" strike="noStrike" kern="1200" cap="none" spc="0" normalizeH="0" baseline="3000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0F2BE9-A71B-2679-2931-F41396A3F204}"/>
              </a:ext>
            </a:extLst>
          </p:cNvPr>
          <p:cNvSpPr txBox="1"/>
          <p:nvPr/>
        </p:nvSpPr>
        <p:spPr>
          <a:xfrm>
            <a:off x="640081" y="5945668"/>
            <a:ext cx="10972800" cy="307777"/>
          </a:xfrm>
          <a:prstGeom prst="rect">
            <a:avLst/>
          </a:prstGeom>
          <a:noFill/>
        </p:spPr>
        <p:txBody>
          <a:bodyPr wrap="square" lIns="91440" tIns="45720" rIns="91440" bIns="4572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 analyses were conducted in the safety population, which was defined as all randomly assigned patients who received ≥1 dose of treatment. Grading per National Cancer Institute Common Terminology Criteria for Adverse Events version 5.0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ludes grade 4 adrenal insufficiency and colitis (n = 1 each), attributed to pembro only and not mRNA-4157 (V940); no grade 5 events occurred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 grade 4 or 5 events occurred. 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32778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14">
            <a:extLst>
              <a:ext uri="{FF2B5EF4-FFF2-40B4-BE49-F238E27FC236}">
                <a16:creationId xmlns:a16="http://schemas.microsoft.com/office/drawing/2014/main" id="{FD038577-0F4B-9040-1B1C-7DA29463C923}"/>
              </a:ext>
            </a:extLst>
          </p:cNvPr>
          <p:cNvSpPr txBox="1">
            <a:spLocks/>
          </p:cNvSpPr>
          <p:nvPr/>
        </p:nvSpPr>
        <p:spPr>
          <a:xfrm>
            <a:off x="655960" y="1828799"/>
            <a:ext cx="10427604" cy="402336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Char char="§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Char char="o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31837"/>
              </a:buClr>
            </a:pPr>
            <a:r>
              <a:rPr lang="en-US" dirty="0"/>
              <a:t>Additional analyses to include </a:t>
            </a:r>
            <a:r>
              <a:rPr lang="en-US" b="1" dirty="0"/>
              <a:t>protocol specified RFS with ≥51 events </a:t>
            </a:r>
            <a:r>
              <a:rPr lang="en-US" dirty="0"/>
              <a:t>and </a:t>
            </a:r>
            <a:r>
              <a:rPr lang="en-US" b="1" dirty="0"/>
              <a:t>other subpopulation and translational assessments including immunogenicity</a:t>
            </a:r>
            <a:br>
              <a:rPr lang="en-US" dirty="0"/>
            </a:br>
            <a:endParaRPr lang="en-US" dirty="0"/>
          </a:p>
          <a:p>
            <a:pPr>
              <a:buClr>
                <a:srgbClr val="E31837"/>
              </a:buClr>
            </a:pPr>
            <a:r>
              <a:rPr lang="en-US" b="1" dirty="0"/>
              <a:t>Longer follow-up </a:t>
            </a:r>
            <a:r>
              <a:rPr lang="en-US" dirty="0"/>
              <a:t>with mRNA-4157-P201/KEYNOTE-942 to evaluate </a:t>
            </a:r>
            <a:r>
              <a:rPr lang="en-US" b="1" dirty="0"/>
              <a:t>durability of the treatment effect </a:t>
            </a:r>
            <a:br>
              <a:rPr lang="en-US" dirty="0"/>
            </a:br>
            <a:endParaRPr lang="en-US" dirty="0"/>
          </a:p>
          <a:p>
            <a:pPr>
              <a:buClr>
                <a:srgbClr val="E31837"/>
              </a:buClr>
            </a:pPr>
            <a:r>
              <a:rPr lang="en-US" b="1" dirty="0"/>
              <a:t>A phase 3 study to confirm these results </a:t>
            </a:r>
            <a:r>
              <a:rPr lang="en-US" dirty="0"/>
              <a:t>will be initiated in patients with </a:t>
            </a:r>
            <a:br>
              <a:rPr lang="en-US" dirty="0"/>
            </a:br>
            <a:r>
              <a:rPr lang="en-US" dirty="0"/>
              <a:t>high-risk resected melanoma </a:t>
            </a:r>
            <a:r>
              <a:rPr lang="en-US" b="1" dirty="0"/>
              <a:t>in 2023</a:t>
            </a:r>
            <a:br>
              <a:rPr lang="en-US" dirty="0"/>
            </a:br>
            <a:endParaRPr lang="en-US" dirty="0"/>
          </a:p>
          <a:p>
            <a:pPr>
              <a:buClr>
                <a:srgbClr val="E31837"/>
              </a:buClr>
            </a:pPr>
            <a:r>
              <a:rPr lang="en-US" dirty="0"/>
              <a:t>Expanded clinical studies to include </a:t>
            </a:r>
            <a:r>
              <a:rPr lang="en-US" b="1" dirty="0"/>
              <a:t>additional tumor types</a:t>
            </a:r>
            <a:r>
              <a:rPr lang="en-US" dirty="0"/>
              <a:t>, such as NSCL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E37C21-F171-274D-2858-E29F7B7C1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CA8FB0-1E83-63E7-5BA2-27BA04F0B5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6F896B4A-66F4-420A-A099-F174BF1A0A20}" type="slidenum">
              <a:rPr lang="en-US" noProof="0" smtClean="0"/>
              <a:pPr lvl="0"/>
              <a:t>13</a:t>
            </a:fld>
            <a:endParaRPr lang="en-US" noProof="0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EAB455C-892B-DC60-FD6C-2EE67F0BA9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029EFA5-4BAA-1382-2B4E-E7A00388B79E}"/>
              </a:ext>
            </a:extLst>
          </p:cNvPr>
          <p:cNvGrpSpPr/>
          <p:nvPr/>
        </p:nvGrpSpPr>
        <p:grpSpPr>
          <a:xfrm>
            <a:off x="1108436" y="2689415"/>
            <a:ext cx="9761494" cy="2147101"/>
            <a:chOff x="1239252" y="2658593"/>
            <a:chExt cx="4634523" cy="2147101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12F6190-F9AC-080D-77F9-7A7623532527}"/>
                </a:ext>
              </a:extLst>
            </p:cNvPr>
            <p:cNvCxnSpPr>
              <a:cxnSpLocks/>
            </p:cNvCxnSpPr>
            <p:nvPr/>
          </p:nvCxnSpPr>
          <p:spPr>
            <a:xfrm>
              <a:off x="1239252" y="2658593"/>
              <a:ext cx="4634523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5708770-9FB5-BF97-A9D5-DA1E928710D9}"/>
                </a:ext>
              </a:extLst>
            </p:cNvPr>
            <p:cNvCxnSpPr>
              <a:cxnSpLocks/>
            </p:cNvCxnSpPr>
            <p:nvPr/>
          </p:nvCxnSpPr>
          <p:spPr>
            <a:xfrm>
              <a:off x="1239252" y="3726877"/>
              <a:ext cx="4634523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E8CE4A7-54E6-6A2D-947D-1C90ED260BEA}"/>
                </a:ext>
              </a:extLst>
            </p:cNvPr>
            <p:cNvCxnSpPr>
              <a:cxnSpLocks/>
            </p:cNvCxnSpPr>
            <p:nvPr/>
          </p:nvCxnSpPr>
          <p:spPr>
            <a:xfrm>
              <a:off x="1239252" y="4805694"/>
              <a:ext cx="4634523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068816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2F57E31-9982-C311-4488-A4F66D693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448126-3AC8-12C7-7D35-F64679518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6F896B4A-66F4-420A-A099-F174BF1A0A20}" type="slidenum">
              <a:rPr lang="en-US" noProof="0" smtClean="0"/>
              <a:pPr lvl="0"/>
              <a:t>14</a:t>
            </a:fld>
            <a:endParaRPr lang="en-US" noProof="0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9CC3C145-B787-A09C-FEE0-05C53B1A034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295400"/>
            <a:ext cx="10972800" cy="4556759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>
              <a:buClr>
                <a:srgbClr val="E31837"/>
              </a:buClr>
            </a:pPr>
            <a:r>
              <a:rPr lang="en-US" dirty="0"/>
              <a:t>mRNA-4157 (V940) and pembrolizumab demonstrated a </a:t>
            </a:r>
            <a:r>
              <a:rPr lang="en-US" b="1" dirty="0"/>
              <a:t>clinically significant improvement in RFS and DMFS </a:t>
            </a:r>
            <a:r>
              <a:rPr lang="en-US" dirty="0"/>
              <a:t>compared to standard of care pembrolizumab in high-risk resected melanoma, with a </a:t>
            </a:r>
            <a:r>
              <a:rPr lang="en-US" b="1" dirty="0"/>
              <a:t>44% reduction in the risk of recurrence or death </a:t>
            </a:r>
            <a:r>
              <a:rPr lang="en-US" dirty="0"/>
              <a:t>and a </a:t>
            </a:r>
            <a:r>
              <a:rPr lang="en-US" b="1" dirty="0"/>
              <a:t>65% reduction in the risk of distant metastasis or death</a:t>
            </a:r>
            <a:r>
              <a:rPr lang="en-US" dirty="0"/>
              <a:t> with a median of 2 years of follow-up</a:t>
            </a:r>
            <a:br>
              <a:rPr lang="en-US" dirty="0"/>
            </a:br>
            <a:endParaRPr lang="en-US" dirty="0"/>
          </a:p>
          <a:p>
            <a:pPr>
              <a:buClr>
                <a:srgbClr val="E31837"/>
              </a:buClr>
            </a:pPr>
            <a:r>
              <a:rPr lang="en-US" dirty="0"/>
              <a:t>mRNA-4157-P201/KEYNOTE-942 is the </a:t>
            </a:r>
            <a:r>
              <a:rPr lang="en-US" b="1" dirty="0"/>
              <a:t>first randomized trial </a:t>
            </a:r>
            <a:r>
              <a:rPr lang="en-US" dirty="0"/>
              <a:t>to </a:t>
            </a:r>
            <a:r>
              <a:rPr lang="en-US" b="1" dirty="0"/>
              <a:t>demonstrate improvement </a:t>
            </a:r>
            <a:r>
              <a:rPr lang="en-US" dirty="0"/>
              <a:t>in recurrence-free survival and distant metastasis-free survival with </a:t>
            </a:r>
            <a:r>
              <a:rPr lang="en-US" b="1" dirty="0"/>
              <a:t>an individualized neoantigen therapy approach</a:t>
            </a:r>
            <a:br>
              <a:rPr lang="en-US" b="1" dirty="0"/>
            </a:br>
            <a:r>
              <a:rPr lang="en-US" b="1" dirty="0"/>
              <a:t> </a:t>
            </a:r>
            <a:endParaRPr lang="en-US" dirty="0"/>
          </a:p>
          <a:p>
            <a:pPr>
              <a:buClr>
                <a:srgbClr val="E31837"/>
              </a:buClr>
            </a:pPr>
            <a:r>
              <a:rPr lang="en-US" dirty="0"/>
              <a:t>mRNA-4157 (V940) in combination with pembrolizumab was </a:t>
            </a:r>
            <a:r>
              <a:rPr lang="en-US" b="1" dirty="0"/>
              <a:t>well-tolerated without an increase in immune-mediated AEs</a:t>
            </a:r>
            <a:r>
              <a:rPr lang="en-US" dirty="0"/>
              <a:t> compared with pembrolizumab monotherapy</a:t>
            </a:r>
            <a:br>
              <a:rPr lang="en-US" dirty="0"/>
            </a:br>
            <a:endParaRPr lang="en-US" dirty="0"/>
          </a:p>
          <a:p>
            <a:pPr>
              <a:buClr>
                <a:srgbClr val="E31837"/>
              </a:buClr>
            </a:pPr>
            <a:r>
              <a:rPr lang="en-US" dirty="0"/>
              <a:t>mRNA-4157 (V940) in combination with pembrolizumab received </a:t>
            </a:r>
            <a:r>
              <a:rPr lang="en-US" b="1" dirty="0"/>
              <a:t>Breakthrough Therapy Designation</a:t>
            </a:r>
            <a:r>
              <a:rPr lang="en-US" dirty="0"/>
              <a:t> from FDA in February 2023 and </a:t>
            </a:r>
            <a:r>
              <a:rPr lang="en-US" b="1" dirty="0"/>
              <a:t>PRIME Designation </a:t>
            </a:r>
            <a:r>
              <a:rPr lang="en-US" dirty="0"/>
              <a:t>from EMA in April 202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0FBA17-9022-0066-FA97-769189C5D3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0135776-6C56-213E-3374-4A20A55DCA0C}"/>
              </a:ext>
            </a:extLst>
          </p:cNvPr>
          <p:cNvGrpSpPr/>
          <p:nvPr/>
        </p:nvGrpSpPr>
        <p:grpSpPr>
          <a:xfrm>
            <a:off x="1007142" y="2644726"/>
            <a:ext cx="10388568" cy="2166715"/>
            <a:chOff x="1239252" y="2815775"/>
            <a:chExt cx="4634523" cy="1949909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C2A70F6-760A-F5E5-0BFB-0347E2D707B4}"/>
                </a:ext>
              </a:extLst>
            </p:cNvPr>
            <p:cNvCxnSpPr>
              <a:cxnSpLocks/>
            </p:cNvCxnSpPr>
            <p:nvPr/>
          </p:nvCxnSpPr>
          <p:spPr>
            <a:xfrm>
              <a:off x="1239252" y="2815775"/>
              <a:ext cx="4634523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A4CAA0C-E6B1-B908-5CB7-75596F27924B}"/>
                </a:ext>
              </a:extLst>
            </p:cNvPr>
            <p:cNvCxnSpPr>
              <a:cxnSpLocks/>
            </p:cNvCxnSpPr>
            <p:nvPr/>
          </p:nvCxnSpPr>
          <p:spPr>
            <a:xfrm>
              <a:off x="1239252" y="3907872"/>
              <a:ext cx="4634523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6C3C037C-D7A6-4023-1613-BAB5D89F1673}"/>
                </a:ext>
              </a:extLst>
            </p:cNvPr>
            <p:cNvCxnSpPr>
              <a:cxnSpLocks/>
            </p:cNvCxnSpPr>
            <p:nvPr/>
          </p:nvCxnSpPr>
          <p:spPr>
            <a:xfrm>
              <a:off x="1239252" y="4765684"/>
              <a:ext cx="4634523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64913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0A242-134E-1F3C-D63F-5D5929C9D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ABD53-9594-5287-3258-6CD619E16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96B4A-66F4-420A-A099-F174BF1A0A2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BB8C22-AAE6-C402-DA3C-79AB695940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A3083C8A-5A6F-7352-3438-7E5A4FF9038F}"/>
              </a:ext>
            </a:extLst>
          </p:cNvPr>
          <p:cNvSpPr txBox="1">
            <a:spLocks/>
          </p:cNvSpPr>
          <p:nvPr/>
        </p:nvSpPr>
        <p:spPr>
          <a:xfrm>
            <a:off x="640080" y="1828799"/>
            <a:ext cx="11446296" cy="402336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Char char="§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Char char="o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764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 to the following groups who made this trial possible:</a:t>
            </a:r>
          </a:p>
          <a:p>
            <a:pPr marL="288925" marR="0" lvl="0" indent="-288925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183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patients and their families, along with all of the site staff</a:t>
            </a:r>
          </a:p>
          <a:p>
            <a:pPr marL="288925" marR="0" lvl="0" indent="-288925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183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personnel at all of our vendors and collaborators</a:t>
            </a:r>
          </a:p>
          <a:p>
            <a:pPr marL="288925" marR="0" lvl="0" indent="-288925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183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scientists, regulatory, operations, and manufacturing teams who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covered, improved, and enabled mRNA-4157 (V940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764"/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764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study (ClinicalTrials.gov Identifier: NCT03897881) was sponsored by Moderna, Inc. 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llaboration with Merck Sharp &amp; Dohme LLC, a subsidiary of Merck &amp; Co., Inc., Rahway, NJ, USA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ED0DF6-3C13-4C9A-C371-AD9A03660751}"/>
              </a:ext>
            </a:extLst>
          </p:cNvPr>
          <p:cNvSpPr txBox="1"/>
          <p:nvPr/>
        </p:nvSpPr>
        <p:spPr>
          <a:xfrm>
            <a:off x="640080" y="6052924"/>
            <a:ext cx="11080432" cy="20005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itorial and medical writing support were provided by Jessica Swanner, PhD, of Lumanity Communications Inc., and were funded by Moderna, Inc. in collaboration with Merck Sharp &amp; Dohme LLC, a subsidiary of Merck &amp; Co., Inc., Rahway, NJ, USA.</a:t>
            </a:r>
          </a:p>
        </p:txBody>
      </p:sp>
    </p:spTree>
    <p:extLst>
      <p:ext uri="{BB962C8B-B14F-4D97-AF65-F5344CB8AC3E}">
        <p14:creationId xmlns:p14="http://schemas.microsoft.com/office/powerpoint/2010/main" val="22180492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518E9CD-F337-1954-AC1E-7EEA3ECDFC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88CA53-0844-6A99-51FE-8E5F4FE50D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</p:spTree>
    <p:extLst>
      <p:ext uri="{BB962C8B-B14F-4D97-AF65-F5344CB8AC3E}">
        <p14:creationId xmlns:p14="http://schemas.microsoft.com/office/powerpoint/2010/main" val="744197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7BEF05-9419-AD54-6F65-8A599FBD0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600" dirty="0"/>
              <a:t>Adjuvant ICI Therapy and DMFS in High-risk Melanom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F428F0-D29E-2EF5-2890-1A325541B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96B4A-66F4-420A-A099-F174BF1A0A2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DA60569D-9EB2-9CD1-2052-13DEC99B56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E41F259-12DB-C19E-E7B9-84BEC8EDE866}"/>
              </a:ext>
            </a:extLst>
          </p:cNvPr>
          <p:cNvSpPr txBox="1"/>
          <p:nvPr/>
        </p:nvSpPr>
        <p:spPr>
          <a:xfrm>
            <a:off x="637378" y="6049359"/>
            <a:ext cx="11082062" cy="20005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700" dirty="0">
                <a:solidFill>
                  <a:srgbClr val="002557"/>
                </a:solidFill>
              </a:rPr>
              <a:t>1. </a:t>
            </a:r>
            <a:r>
              <a:rPr lang="de-DE" sz="700" dirty="0">
                <a:solidFill>
                  <a:srgbClr val="002557"/>
                </a:solidFill>
              </a:rPr>
              <a:t>Amabile S, et al. </a:t>
            </a:r>
            <a:r>
              <a:rPr lang="de-DE" sz="700" i="1" dirty="0">
                <a:solidFill>
                  <a:srgbClr val="002557"/>
                </a:solidFill>
              </a:rPr>
              <a:t>J Clin Med</a:t>
            </a:r>
            <a:r>
              <a:rPr lang="de-DE" sz="700" dirty="0">
                <a:solidFill>
                  <a:srgbClr val="002557"/>
                </a:solidFill>
              </a:rPr>
              <a:t>. 2021;10:5475.</a:t>
            </a:r>
            <a:r>
              <a:rPr lang="en-US" sz="700" dirty="0">
                <a:solidFill>
                  <a:srgbClr val="002557"/>
                </a:solidFill>
              </a:rPr>
              <a:t> 2. Eggermont AMM, et al. </a:t>
            </a:r>
            <a:r>
              <a:rPr lang="en-US" sz="700" i="1" dirty="0">
                <a:solidFill>
                  <a:srgbClr val="002557"/>
                </a:solidFill>
              </a:rPr>
              <a:t>Lancet Oncol. </a:t>
            </a:r>
            <a:r>
              <a:rPr lang="en-US" sz="700" dirty="0">
                <a:solidFill>
                  <a:srgbClr val="002557"/>
                </a:solidFill>
              </a:rPr>
              <a:t>2021.22:643-654. 3. Khattak A, et al. Presented at the American Association for Cancer Research</a:t>
            </a:r>
            <a:r>
              <a:rPr lang="en-US" sz="700" baseline="30000" dirty="0">
                <a:solidFill>
                  <a:srgbClr val="002557"/>
                </a:solidFill>
              </a:rPr>
              <a:t>®</a:t>
            </a:r>
            <a:r>
              <a:rPr lang="en-US" sz="700" dirty="0">
                <a:solidFill>
                  <a:srgbClr val="002557"/>
                </a:solidFill>
              </a:rPr>
              <a:t> (AACR) Annual Meeting; April 14-19, 2023; Orlando, FL, USA. Oral presentation CT001.  </a:t>
            </a:r>
          </a:p>
        </p:txBody>
      </p:sp>
      <p:sp>
        <p:nvSpPr>
          <p:cNvPr id="47" name="Content Placeholder 31">
            <a:extLst>
              <a:ext uri="{FF2B5EF4-FFF2-40B4-BE49-F238E27FC236}">
                <a16:creationId xmlns:a16="http://schemas.microsoft.com/office/drawing/2014/main" id="{12F09305-AB6F-BB97-78E0-29DF533395A9}"/>
              </a:ext>
            </a:extLst>
          </p:cNvPr>
          <p:cNvSpPr txBox="1">
            <a:spLocks/>
          </p:cNvSpPr>
          <p:nvPr/>
        </p:nvSpPr>
        <p:spPr>
          <a:xfrm>
            <a:off x="682632" y="1044030"/>
            <a:ext cx="4579080" cy="400163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Char char="§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Char char="o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spcAft>
                <a:spcPts val="600"/>
              </a:spcAft>
              <a:buClr>
                <a:srgbClr val="E31837"/>
              </a:buClr>
            </a:pPr>
            <a:r>
              <a:rPr lang="en-US" sz="1400" b="1" dirty="0"/>
              <a:t>Both RFS and DMFS </a:t>
            </a:r>
            <a:r>
              <a:rPr lang="en-US" sz="1400" dirty="0"/>
              <a:t>have been evaluated as surrogates for overall survival.</a:t>
            </a:r>
            <a:r>
              <a:rPr lang="en-US" sz="1400" b="1" dirty="0"/>
              <a:t> DMFS</a:t>
            </a:r>
            <a:r>
              <a:rPr lang="en-US" sz="1400" dirty="0"/>
              <a:t> captures patients whose </a:t>
            </a:r>
            <a:r>
              <a:rPr lang="en-US" sz="1400" b="1" dirty="0"/>
              <a:t>relapse is associated with a worse prognosis</a:t>
            </a:r>
            <a:r>
              <a:rPr lang="en-US" sz="1400" dirty="0"/>
              <a:t> and who may need further systemic treatment</a:t>
            </a:r>
            <a:r>
              <a:rPr lang="en-US" sz="1400" baseline="30000" dirty="0"/>
              <a:t>1</a:t>
            </a:r>
          </a:p>
          <a:p>
            <a:pPr>
              <a:lnSpc>
                <a:spcPts val="1700"/>
              </a:lnSpc>
              <a:spcAft>
                <a:spcPts val="600"/>
              </a:spcAft>
              <a:buClr>
                <a:srgbClr val="E31837"/>
              </a:buClr>
            </a:pPr>
            <a:r>
              <a:rPr lang="en-US" sz="1400" dirty="0"/>
              <a:t>The </a:t>
            </a:r>
            <a:r>
              <a:rPr lang="en-US" sz="1400" b="1" dirty="0"/>
              <a:t>KEYNOTE-054</a:t>
            </a:r>
            <a:r>
              <a:rPr lang="en-US" sz="1400" dirty="0"/>
              <a:t> study showed that the </a:t>
            </a:r>
            <a:r>
              <a:rPr lang="en-US" sz="1400" b="1" dirty="0"/>
              <a:t>3.5-year DMFS </a:t>
            </a:r>
            <a:r>
              <a:rPr lang="en-US" sz="1400" dirty="0"/>
              <a:t>was </a:t>
            </a:r>
            <a:r>
              <a:rPr lang="en-US" sz="1400" b="1" dirty="0"/>
              <a:t>significantly higher for patients receiving pembrolizumab </a:t>
            </a:r>
            <a:r>
              <a:rPr lang="en-US" sz="1400" dirty="0"/>
              <a:t>(65.3%) versus placebo (49.4%) in the ITT population (</a:t>
            </a:r>
            <a:r>
              <a:rPr lang="en-US" sz="1400" i="1" dirty="0"/>
              <a:t>P</a:t>
            </a:r>
            <a:r>
              <a:rPr lang="en-US" sz="1400" dirty="0"/>
              <a:t> &lt;0.0001)</a:t>
            </a:r>
            <a:r>
              <a:rPr lang="en-US" sz="1400" baseline="30000" dirty="0"/>
              <a:t>2</a:t>
            </a:r>
            <a:r>
              <a:rPr lang="en-US" sz="1400" dirty="0"/>
              <a:t> </a:t>
            </a:r>
          </a:p>
          <a:p>
            <a:pPr>
              <a:lnSpc>
                <a:spcPts val="1700"/>
              </a:lnSpc>
              <a:spcAft>
                <a:spcPts val="600"/>
              </a:spcAft>
              <a:buClr>
                <a:srgbClr val="E31837"/>
              </a:buClr>
            </a:pPr>
            <a:r>
              <a:rPr lang="en-US" sz="1400" dirty="0"/>
              <a:t>These analyses suggest an </a:t>
            </a:r>
            <a:r>
              <a:rPr lang="en-US" sz="1400" b="1" dirty="0"/>
              <a:t>unmet clinical need with high metastasis rates </a:t>
            </a:r>
            <a:r>
              <a:rPr lang="en-US" sz="1400" dirty="0"/>
              <a:t>even with effective adjuvant melanoma therapy</a:t>
            </a:r>
          </a:p>
          <a:p>
            <a:pPr>
              <a:lnSpc>
                <a:spcPts val="1700"/>
              </a:lnSpc>
              <a:spcAft>
                <a:spcPts val="600"/>
              </a:spcAft>
              <a:buClr>
                <a:srgbClr val="E31837"/>
              </a:buClr>
            </a:pPr>
            <a:r>
              <a:rPr lang="en-US" sz="1400" b="1" dirty="0"/>
              <a:t>mRNA-4157 (V940) + pembrolizumab significantly improved RFS </a:t>
            </a:r>
            <a:r>
              <a:rPr lang="en-US" sz="1400" dirty="0"/>
              <a:t>versus </a:t>
            </a:r>
            <a:br>
              <a:rPr lang="en-US" sz="1400" dirty="0"/>
            </a:br>
            <a:r>
              <a:rPr lang="en-US" sz="1400" dirty="0"/>
              <a:t>pembrolizumab monotherapy (HR = 0.561 </a:t>
            </a:r>
            <a:br>
              <a:rPr lang="en-US" sz="1400" dirty="0"/>
            </a:br>
            <a:r>
              <a:rPr lang="en-US" sz="1400" dirty="0"/>
              <a:t>[95% CI, 0.309,1.017; </a:t>
            </a:r>
            <a:r>
              <a:rPr lang="en-US" sz="1400" i="1" dirty="0"/>
              <a:t>P</a:t>
            </a:r>
            <a:r>
              <a:rPr lang="en-US" sz="1400" dirty="0"/>
              <a:t> = 0.0266]</a:t>
            </a:r>
            <a:r>
              <a:rPr lang="en-US" sz="1400" baseline="30000" dirty="0"/>
              <a:t>3</a:t>
            </a:r>
          </a:p>
          <a:p>
            <a:pPr>
              <a:lnSpc>
                <a:spcPts val="1700"/>
              </a:lnSpc>
              <a:spcAft>
                <a:spcPts val="600"/>
              </a:spcAft>
              <a:buClr>
                <a:srgbClr val="E31837"/>
              </a:buClr>
            </a:pPr>
            <a:r>
              <a:rPr lang="en-US" sz="1400" dirty="0"/>
              <a:t>Here, we report</a:t>
            </a:r>
            <a:r>
              <a:rPr lang="en-US" sz="1400" b="1" dirty="0"/>
              <a:t> the first DMFS results </a:t>
            </a:r>
            <a:r>
              <a:rPr lang="en-US" sz="1400" dirty="0"/>
              <a:t>from the </a:t>
            </a:r>
            <a:r>
              <a:rPr lang="en-US" sz="1400" b="1" dirty="0"/>
              <a:t>mRNA-4157-P201/KEYNOTE-942 </a:t>
            </a:r>
            <a:r>
              <a:rPr lang="en-US" sz="1400" dirty="0"/>
              <a:t>study</a:t>
            </a:r>
          </a:p>
          <a:p>
            <a:pPr marL="0" indent="0">
              <a:lnSpc>
                <a:spcPts val="1700"/>
              </a:lnSpc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4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1400" dirty="0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609F61C6-1330-3A69-58E0-C16BE23BC4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8880" y="2002360"/>
            <a:ext cx="5772666" cy="2678298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76667D66-82B3-F2F4-B362-78F750A0EBEA}"/>
              </a:ext>
            </a:extLst>
          </p:cNvPr>
          <p:cNvSpPr txBox="1"/>
          <p:nvPr/>
        </p:nvSpPr>
        <p:spPr>
          <a:xfrm>
            <a:off x="5563427" y="4873745"/>
            <a:ext cx="6023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002557"/>
                </a:solidFill>
              </a:rPr>
              <a:t>Reprinted from </a:t>
            </a:r>
            <a:r>
              <a:rPr lang="en-US" sz="800" i="1" dirty="0">
                <a:solidFill>
                  <a:srgbClr val="002557"/>
                </a:solidFill>
              </a:rPr>
              <a:t>Lancet Oncology, </a:t>
            </a:r>
            <a:r>
              <a:rPr lang="en-US" sz="800" dirty="0">
                <a:solidFill>
                  <a:srgbClr val="002557"/>
                </a:solidFill>
              </a:rPr>
              <a:t>Volume No. 22,</a:t>
            </a:r>
            <a:r>
              <a:rPr lang="en-US" sz="800" i="1" dirty="0">
                <a:solidFill>
                  <a:srgbClr val="002557"/>
                </a:solidFill>
              </a:rPr>
              <a:t> </a:t>
            </a:r>
            <a:r>
              <a:rPr lang="en-US" sz="800" dirty="0">
                <a:solidFill>
                  <a:srgbClr val="002557"/>
                </a:solidFill>
              </a:rPr>
              <a:t>Eggermont AMM, et al, Adjuvant pembrolizumab versus placebo in resected </a:t>
            </a:r>
            <a:br>
              <a:rPr lang="en-US" sz="800" dirty="0">
                <a:solidFill>
                  <a:srgbClr val="002557"/>
                </a:solidFill>
              </a:rPr>
            </a:br>
            <a:r>
              <a:rPr lang="en-US" sz="800" dirty="0">
                <a:solidFill>
                  <a:srgbClr val="002557"/>
                </a:solidFill>
              </a:rPr>
              <a:t>stage III melanoma (EORTC 1325-MG/KEYNOTE-054): distant metastasis-free survival results from a double-blind, randomised, controlled, phase 3 trial, Pages No. 643–654, Copyright 2021, with permission from Elsevier.   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3EF1D83E-BDCD-F5E1-2E77-B53E644851A6}"/>
              </a:ext>
            </a:extLst>
          </p:cNvPr>
          <p:cNvSpPr/>
          <p:nvPr/>
        </p:nvSpPr>
        <p:spPr>
          <a:xfrm>
            <a:off x="5430987" y="1371667"/>
            <a:ext cx="6288453" cy="3521175"/>
          </a:xfrm>
          <a:prstGeom prst="roundRect">
            <a:avLst>
              <a:gd name="adj" fmla="val 2025"/>
            </a:avLst>
          </a:prstGeom>
          <a:noFill/>
          <a:ln w="19050">
            <a:solidFill>
              <a:srgbClr val="E3183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E73187F-37C0-7DFE-2A57-691D54DA791C}"/>
              </a:ext>
            </a:extLst>
          </p:cNvPr>
          <p:cNvSpPr txBox="1"/>
          <p:nvPr/>
        </p:nvSpPr>
        <p:spPr>
          <a:xfrm>
            <a:off x="5484228" y="1425901"/>
            <a:ext cx="61819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2557"/>
                </a:solidFill>
              </a:rPr>
              <a:t>KEYNOTE-054: DMF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E2B2893-683E-D1D9-EDB7-22D913B3F154}"/>
              </a:ext>
            </a:extLst>
          </p:cNvPr>
          <p:cNvGrpSpPr/>
          <p:nvPr/>
        </p:nvGrpSpPr>
        <p:grpSpPr>
          <a:xfrm>
            <a:off x="1115318" y="2267894"/>
            <a:ext cx="3963092" cy="2981599"/>
            <a:chOff x="712817" y="1996966"/>
            <a:chExt cx="3173149" cy="2981599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1C8C4F13-9791-BEE4-7014-D634F7EF1637}"/>
                </a:ext>
              </a:extLst>
            </p:cNvPr>
            <p:cNvCxnSpPr>
              <a:cxnSpLocks/>
            </p:cNvCxnSpPr>
            <p:nvPr/>
          </p:nvCxnSpPr>
          <p:spPr>
            <a:xfrm>
              <a:off x="712817" y="3044847"/>
              <a:ext cx="3173149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67F8AAEB-44CE-286C-9C76-1EABF039E7E8}"/>
                </a:ext>
              </a:extLst>
            </p:cNvPr>
            <p:cNvCxnSpPr>
              <a:cxnSpLocks/>
            </p:cNvCxnSpPr>
            <p:nvPr/>
          </p:nvCxnSpPr>
          <p:spPr>
            <a:xfrm>
              <a:off x="712817" y="1996966"/>
              <a:ext cx="3173149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4B824616-440E-AF04-21B9-255E0887FA92}"/>
                </a:ext>
              </a:extLst>
            </p:cNvPr>
            <p:cNvCxnSpPr>
              <a:cxnSpLocks/>
            </p:cNvCxnSpPr>
            <p:nvPr/>
          </p:nvCxnSpPr>
          <p:spPr>
            <a:xfrm>
              <a:off x="712817" y="3916793"/>
              <a:ext cx="3173149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3B474F3A-F20C-AA52-C69C-C3C1C581FF30}"/>
                </a:ext>
              </a:extLst>
            </p:cNvPr>
            <p:cNvCxnSpPr>
              <a:cxnSpLocks/>
            </p:cNvCxnSpPr>
            <p:nvPr/>
          </p:nvCxnSpPr>
          <p:spPr>
            <a:xfrm>
              <a:off x="712817" y="4978565"/>
              <a:ext cx="3173149" cy="0"/>
            </a:xfrm>
            <a:prstGeom prst="line">
              <a:avLst/>
            </a:prstGeom>
            <a:ln>
              <a:solidFill>
                <a:srgbClr val="E3183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567138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04BAB-69FE-D85D-EBC7-7EB137726C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600" dirty="0"/>
              <a:t>mRNA-4157 (V940) Mechanism of A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B88ACE-288D-3D17-40FE-89EA8DE4E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96B4A-66F4-420A-A099-F174BF1A0A2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DDBE200-9415-CDF8-D800-C1791ADCF3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50" dirty="0"/>
              <a:t>Adnan Khattak, MBBS, FRACP, PhD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8B4B9646-9993-C141-5741-43672867BD27}"/>
              </a:ext>
            </a:extLst>
          </p:cNvPr>
          <p:cNvSpPr/>
          <p:nvPr/>
        </p:nvSpPr>
        <p:spPr>
          <a:xfrm>
            <a:off x="825396" y="2596080"/>
            <a:ext cx="4517647" cy="3165301"/>
          </a:xfrm>
          <a:prstGeom prst="roundRect">
            <a:avLst>
              <a:gd name="adj" fmla="val 2025"/>
            </a:avLst>
          </a:prstGeom>
          <a:noFill/>
          <a:ln w="19050">
            <a:solidFill>
              <a:srgbClr val="E3183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697C2A5-D0D1-2946-ED31-945B07AE3426}"/>
              </a:ext>
            </a:extLst>
          </p:cNvPr>
          <p:cNvSpPr txBox="1"/>
          <p:nvPr/>
        </p:nvSpPr>
        <p:spPr>
          <a:xfrm>
            <a:off x="583199" y="5837481"/>
            <a:ext cx="11137313" cy="415498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A, human leukocyte antigen; INT, individualized neoantigen therapy; ORF, open reading frame. </a:t>
            </a: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rris HA, et al. </a:t>
            </a:r>
            <a:r>
              <a:rPr kumimoji="0" lang="fr-FR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 Clin Oncol</a:t>
            </a: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19;37(suppl 15). Abstract 2523.  2. Zhong S, et al. </a:t>
            </a:r>
            <a:r>
              <a:rPr kumimoji="0" lang="fr-FR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cer Res</a:t>
            </a: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80(suppl 16). Abstract 6539.  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 Wirth TC, Kühnel F. </a:t>
            </a:r>
            <a:r>
              <a:rPr kumimoji="0" lang="de-DE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ont Immunol. 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7;8:1848. </a:t>
            </a: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 Ott PA, et al.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ur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17;547:217-221.  5. Hu Z, et al.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 Med</a:t>
            </a:r>
            <a:r>
              <a:rPr kumimoji="0" lang="pt-BR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;27:515-525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. Ott PA, et al. </a:t>
            </a:r>
            <a:r>
              <a:rPr kumimoji="0" lang="de-DE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l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0;183:347-362.  7. Palmer CD, et al. </a:t>
            </a:r>
            <a:r>
              <a:rPr kumimoji="0" lang="de-DE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 Med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2;28:1619-1629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D48580D-FC48-6C26-23DF-4FEE1AD2058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623" t="580" b="-1"/>
          <a:stretch/>
        </p:blipFill>
        <p:spPr>
          <a:xfrm>
            <a:off x="5450676" y="2642518"/>
            <a:ext cx="5943371" cy="3092502"/>
          </a:xfrm>
          <a:prstGeom prst="rect">
            <a:avLst/>
          </a:prstGeom>
        </p:spPr>
      </p:pic>
      <p:sp>
        <p:nvSpPr>
          <p:cNvPr id="22" name="Content Placeholder 16">
            <a:extLst>
              <a:ext uri="{FF2B5EF4-FFF2-40B4-BE49-F238E27FC236}">
                <a16:creationId xmlns:a16="http://schemas.microsoft.com/office/drawing/2014/main" id="{8B07DA3F-89DC-F675-3624-A303A91138EF}"/>
              </a:ext>
            </a:extLst>
          </p:cNvPr>
          <p:cNvSpPr txBox="1">
            <a:spLocks/>
          </p:cNvSpPr>
          <p:nvPr/>
        </p:nvSpPr>
        <p:spPr>
          <a:xfrm>
            <a:off x="640080" y="1036172"/>
            <a:ext cx="10972800" cy="481598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Char char="§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Char char="o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183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NA-4157 (V940) i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 individualized neoantigen therap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ed to target an individual patient’s unique tumor mutations and encodes up to 34 neoantigens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183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rapies targeting neoantigens can increase endogenou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oantigen T-cell responses and induce epitope spreading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novel antigens with the abilit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drive antitumor respons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intain memor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cytolytic properties, potentiall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ing long-term disease control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patients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-7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 descr="A picture containing circle, graphics, screenshot, art&#10;&#10;Description automatically generated">
            <a:extLst>
              <a:ext uri="{FF2B5EF4-FFF2-40B4-BE49-F238E27FC236}">
                <a16:creationId xmlns:a16="http://schemas.microsoft.com/office/drawing/2014/main" id="{7A937FE1-D9DD-B317-4393-1A65CD91F8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396" y="2596080"/>
            <a:ext cx="4571463" cy="308920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1538F9B-FEA7-45DC-6352-B8505A318F65}"/>
              </a:ext>
            </a:extLst>
          </p:cNvPr>
          <p:cNvSpPr txBox="1"/>
          <p:nvPr/>
        </p:nvSpPr>
        <p:spPr>
          <a:xfrm>
            <a:off x="2761429" y="5425489"/>
            <a:ext cx="6415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~6 weeks</a:t>
            </a:r>
          </a:p>
        </p:txBody>
      </p:sp>
    </p:spTree>
    <p:extLst>
      <p:ext uri="{BB962C8B-B14F-4D97-AF65-F5344CB8AC3E}">
        <p14:creationId xmlns:p14="http://schemas.microsoft.com/office/powerpoint/2010/main" val="3627985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0ABABA2-232B-1AAB-DD01-047DD81A1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600" dirty="0"/>
              <a:t>mRNA-4157-P201/KEYNOTE-942 (NCT03897881) Study Desig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199933-CDD2-7F4F-7FAE-F9464A07D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96B4A-66F4-420A-A099-F174BF1A0A2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AAAA18F-BFDE-ADAA-803F-2C78CC41D1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25180F0-FAA9-A6FF-E196-6EE4646626C4}"/>
              </a:ext>
            </a:extLst>
          </p:cNvPr>
          <p:cNvSpPr txBox="1">
            <a:spLocks/>
          </p:cNvSpPr>
          <p:nvPr/>
        </p:nvSpPr>
        <p:spPr>
          <a:xfrm>
            <a:off x="749507" y="946031"/>
            <a:ext cx="10692987" cy="365125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Char char="§"/>
              <a:defRPr lang="en-US" sz="20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Char char="o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76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5AA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ndomized, phase 2, open-label study in adjuvant resected melanoma patients at high risk of recurren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395229-A56D-A0AB-29EA-762DB41E6B54}"/>
              </a:ext>
            </a:extLst>
          </p:cNvPr>
          <p:cNvSpPr txBox="1"/>
          <p:nvPr/>
        </p:nvSpPr>
        <p:spPr>
          <a:xfrm>
            <a:off x="640079" y="5630897"/>
            <a:ext cx="11317971" cy="630942"/>
          </a:xfrm>
          <a:prstGeom prst="rect">
            <a:avLst/>
          </a:prstGeom>
          <a:noFill/>
        </p:spPr>
        <p:txBody>
          <a:bodyPr wrap="square" lIns="91440" tIns="45720" rIns="91440" bIns="4572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ients with stage IIIB disease were eligible only if relapse occurred within 3 months of prior surgery of curative intent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ording to the </a:t>
            </a:r>
            <a:r>
              <a:rPr lang="en-US" sz="700" dirty="0">
                <a:solidFill>
                  <a:srgbClr val="002557"/>
                </a:solidFill>
                <a:latin typeface="Arial" panose="020B0604020202020204"/>
              </a:rPr>
              <a:t>8th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dition of the American Joint Committee on Cancer Staging Manual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primary endpoint was investigator-assessed RFS (defined as the time from first dose of pembrolizumab until the date of first recurrence [local, regional, or distant metastasis], a new primary melanoma, or death from any cause) in the intention-to-treat population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primary analysis for RFS was specified to occur after all patients completed ≥12 months on study and ≥40 RFS events were observed. Descriptive analysis was specified to occur when ≥51 RFS events were observed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stigator-assessed DMFS was defined as the time from first dose of pembrolizumab until the date of first distant recurrence or death from any cause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stratified log-rank test was used for comparison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 of database cutoff was November 14, 2022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B880CF8-9290-0782-F877-20F8234B49E1}"/>
              </a:ext>
            </a:extLst>
          </p:cNvPr>
          <p:cNvSpPr txBox="1"/>
          <p:nvPr/>
        </p:nvSpPr>
        <p:spPr>
          <a:xfrm>
            <a:off x="1905355" y="4564199"/>
            <a:ext cx="917960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gned with 80% power to detect an HR of 0.5 with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Symbol" panose="05050102010706020507" pitchFamily="18" charset="2"/>
              </a:rPr>
              <a:t>40 RFS events (with a 1-sided alpha of 0.1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MFS analysis was prespecified for testing following positive RFS in the ITT population</a:t>
            </a:r>
            <a:r>
              <a:rPr kumimoji="0" lang="en-US" sz="13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an follow-up</a:t>
            </a:r>
            <a:r>
              <a:rPr kumimoji="0" lang="en-US" sz="13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 months for mRNA-4157 (V940) + pembrolizumab 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                24 months for pembrolizumab monotherap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C9B50A-53A4-E53C-0A4B-8EEE23FE4DE0}"/>
              </a:ext>
            </a:extLst>
          </p:cNvPr>
          <p:cNvGrpSpPr/>
          <p:nvPr/>
        </p:nvGrpSpPr>
        <p:grpSpPr>
          <a:xfrm>
            <a:off x="404602" y="1505494"/>
            <a:ext cx="11325142" cy="3036052"/>
            <a:chOff x="404602" y="1505494"/>
            <a:chExt cx="11325142" cy="3036052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F0F6D98-5B6E-DD76-A8C5-A8C466642773}"/>
                </a:ext>
              </a:extLst>
            </p:cNvPr>
            <p:cNvCxnSpPr>
              <a:cxnSpLocks/>
            </p:cNvCxnSpPr>
            <p:nvPr/>
          </p:nvCxnSpPr>
          <p:spPr>
            <a:xfrm>
              <a:off x="2567057" y="3033272"/>
              <a:ext cx="865535" cy="0"/>
            </a:xfrm>
            <a:prstGeom prst="line">
              <a:avLst/>
            </a:prstGeom>
            <a:ln w="28575">
              <a:solidFill>
                <a:srgbClr val="25AAE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C3B07065-22AE-086B-CE9F-FFC1625AFD45}"/>
                </a:ext>
              </a:extLst>
            </p:cNvPr>
            <p:cNvSpPr/>
            <p:nvPr/>
          </p:nvSpPr>
          <p:spPr>
            <a:xfrm>
              <a:off x="404602" y="1868505"/>
              <a:ext cx="2157973" cy="2329534"/>
            </a:xfrm>
            <a:prstGeom prst="roundRect">
              <a:avLst>
                <a:gd name="adj" fmla="val 8466"/>
              </a:avLst>
            </a:prstGeom>
            <a:noFill/>
            <a:ln w="28575">
              <a:solidFill>
                <a:srgbClr val="25AA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rIns="4572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ey eligibility criteria</a:t>
              </a:r>
            </a:p>
            <a:p>
              <a:pPr marL="173038" marR="0" lvl="0" indent="-173038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0" algn="l"/>
                </a:tabLst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sected stage IIIB,</a:t>
              </a: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IIC, IIID, or IV 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utaneous melanoma</a:t>
              </a:r>
              <a:endPara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173038" marR="0" lvl="0" indent="-173038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0" algn="l"/>
                </a:tabLst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mplete surgical resection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Symbol" panose="05050102010706020507" pitchFamily="18" charset="2"/>
                </a:rPr>
                <a:t>within 13 weeks prior to 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Symbol" panose="05050102010706020507" pitchFamily="18" charset="2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Symbol" panose="05050102010706020507" pitchFamily="18" charset="2"/>
                </a:rPr>
                <a:t>first pembrolizumab dose</a:t>
              </a:r>
            </a:p>
            <a:p>
              <a:pPr marL="173038" marR="0" lvl="0" indent="-173038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0" algn="l"/>
                </a:tabLst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Symbol" panose="05050102010706020507" pitchFamily="18" charset="2"/>
                </a:rPr>
                <a:t>Disease-free at study entry</a:t>
              </a:r>
            </a:p>
            <a:p>
              <a:pPr marL="173038" marR="0" lvl="0" indent="-173038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0" algn="l"/>
                </a:tabLst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Symbol" panose="05050102010706020507" pitchFamily="18" charset="2"/>
                </a:rPr>
                <a:t>ECOG PS score 0-1</a:t>
              </a:r>
            </a:p>
            <a:p>
              <a:pPr marL="173038" marR="0" lvl="0" indent="-173038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0" algn="l"/>
                </a:tabLst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Symbol" panose="05050102010706020507" pitchFamily="18" charset="2"/>
                </a:rPr>
                <a:t>Tissue available for NGS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FE05E292-3373-8FAB-A48B-9E3B930AC474}"/>
                </a:ext>
              </a:extLst>
            </p:cNvPr>
            <p:cNvSpPr/>
            <p:nvPr/>
          </p:nvSpPr>
          <p:spPr>
            <a:xfrm rot="16200000">
              <a:off x="2189741" y="2833767"/>
              <a:ext cx="1598606" cy="39901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5AA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:1 Randomization 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EE83A1BF-4491-258A-19C1-6435AE4E8EB5}"/>
                </a:ext>
              </a:extLst>
            </p:cNvPr>
            <p:cNvSpPr/>
            <p:nvPr/>
          </p:nvSpPr>
          <p:spPr>
            <a:xfrm>
              <a:off x="3747560" y="1505494"/>
              <a:ext cx="5495193" cy="1081454"/>
            </a:xfrm>
            <a:prstGeom prst="roundRect">
              <a:avLst/>
            </a:prstGeom>
            <a:solidFill>
              <a:srgbClr val="E318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mbination treatment arm: mRNA-4157 (V940) + pembrolizumab 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p to 1 year of pembrolizumab treatmen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RNA-4157 (V940) 1 mg IM Q3W for up to 9 doses +</a:t>
              </a:r>
              <a:b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embrolizumab 200 mg IV Q3W for up to 18 cycl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n = 107)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31ECA77D-82D3-8E71-111B-E96383EED11C}"/>
                </a:ext>
              </a:extLst>
            </p:cNvPr>
            <p:cNvSpPr/>
            <p:nvPr/>
          </p:nvSpPr>
          <p:spPr>
            <a:xfrm>
              <a:off x="3747560" y="3460092"/>
              <a:ext cx="5495193" cy="1081454"/>
            </a:xfrm>
            <a:prstGeom prst="roundRect">
              <a:avLst/>
            </a:prstGeom>
            <a:solidFill>
              <a:srgbClr val="BFE6F6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ntrol treatment arm: pembrolizumab monotherap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p to 1 year of pembrolizumab treatmen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 dirty="0">
                  <a:solidFill>
                    <a:srgbClr val="000000"/>
                  </a:solidFill>
                  <a:latin typeface="Arial" panose="020B0604020202020204"/>
                </a:rPr>
                <a:t>p</a:t>
              </a: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mbrolizumab 200 mg IV Q3W for up to 18 cycl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n = 50)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1A6C710-B2F0-8910-3D8D-6CA8A3CB483F}"/>
                </a:ext>
              </a:extLst>
            </p:cNvPr>
            <p:cNvSpPr/>
            <p:nvPr/>
          </p:nvSpPr>
          <p:spPr>
            <a:xfrm>
              <a:off x="9721753" y="1526681"/>
              <a:ext cx="2007991" cy="3013182"/>
            </a:xfrm>
            <a:prstGeom prst="roundRect">
              <a:avLst>
                <a:gd name="adj" fmla="val 10046"/>
              </a:avLst>
            </a:prstGeom>
            <a:noFill/>
            <a:ln w="28575">
              <a:solidFill>
                <a:srgbClr val="25AA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imary endpoint: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FS</a:t>
              </a:r>
              <a:r>
                <a:rPr kumimoji="0" lang="en-US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,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condary endpoints: 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MFS,</a:t>
              </a:r>
              <a:r>
                <a:rPr kumimoji="0" lang="en-US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3183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afety, tolerabilit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ollow-up: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p to 3 years following the first dose of pembrolizumab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012A28F-6A73-1D8E-F44C-488FA8B3FB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28109" y="1916749"/>
              <a:ext cx="0" cy="1167045"/>
            </a:xfrm>
            <a:prstGeom prst="line">
              <a:avLst/>
            </a:prstGeom>
            <a:ln w="28575">
              <a:solidFill>
                <a:srgbClr val="25AAE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59DF7839-6754-EA5B-A6B9-8A952B674A6A}"/>
                </a:ext>
              </a:extLst>
            </p:cNvPr>
            <p:cNvCxnSpPr>
              <a:cxnSpLocks/>
            </p:cNvCxnSpPr>
            <p:nvPr/>
          </p:nvCxnSpPr>
          <p:spPr>
            <a:xfrm>
              <a:off x="3414468" y="1916749"/>
              <a:ext cx="338328" cy="0"/>
            </a:xfrm>
            <a:prstGeom prst="straightConnector1">
              <a:avLst/>
            </a:prstGeom>
            <a:ln w="28575">
              <a:solidFill>
                <a:srgbClr val="25AAE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252B320-70A0-7207-913D-1707F12A71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28109" y="3082642"/>
              <a:ext cx="0" cy="918177"/>
            </a:xfrm>
            <a:prstGeom prst="line">
              <a:avLst/>
            </a:prstGeom>
            <a:ln w="28575">
              <a:solidFill>
                <a:srgbClr val="25AAE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56FE3F44-05E2-A072-546D-11845A59D5AC}"/>
                </a:ext>
              </a:extLst>
            </p:cNvPr>
            <p:cNvCxnSpPr>
              <a:cxnSpLocks/>
            </p:cNvCxnSpPr>
            <p:nvPr/>
          </p:nvCxnSpPr>
          <p:spPr>
            <a:xfrm>
              <a:off x="3414466" y="4000819"/>
              <a:ext cx="338328" cy="0"/>
            </a:xfrm>
            <a:prstGeom prst="straightConnector1">
              <a:avLst/>
            </a:prstGeom>
            <a:ln w="28575">
              <a:solidFill>
                <a:srgbClr val="25AAE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C6F0FDE-2DB2-18E7-691E-53F870B76AC3}"/>
                </a:ext>
              </a:extLst>
            </p:cNvPr>
            <p:cNvSpPr txBox="1"/>
            <p:nvPr/>
          </p:nvSpPr>
          <p:spPr>
            <a:xfrm>
              <a:off x="3449068" y="2902467"/>
              <a:ext cx="2711064" cy="276999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ratified by disease stage</a:t>
              </a:r>
              <a:r>
                <a:rPr kumimoji="0" lang="en-US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1BD11477-A60B-37AD-F82C-3F3EEAF00EE4}"/>
                </a:ext>
              </a:extLst>
            </p:cNvPr>
            <p:cNvCxnSpPr>
              <a:cxnSpLocks/>
            </p:cNvCxnSpPr>
            <p:nvPr/>
          </p:nvCxnSpPr>
          <p:spPr>
            <a:xfrm>
              <a:off x="9243857" y="1916749"/>
              <a:ext cx="466344" cy="0"/>
            </a:xfrm>
            <a:prstGeom prst="straightConnector1">
              <a:avLst/>
            </a:prstGeom>
            <a:ln w="28575">
              <a:solidFill>
                <a:srgbClr val="25AAE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69244B83-AACB-5A4E-5967-0BC2CDADDB38}"/>
                </a:ext>
              </a:extLst>
            </p:cNvPr>
            <p:cNvCxnSpPr>
              <a:cxnSpLocks/>
            </p:cNvCxnSpPr>
            <p:nvPr/>
          </p:nvCxnSpPr>
          <p:spPr>
            <a:xfrm>
              <a:off x="9243857" y="4000819"/>
              <a:ext cx="466344" cy="0"/>
            </a:xfrm>
            <a:prstGeom prst="straightConnector1">
              <a:avLst/>
            </a:prstGeom>
            <a:ln w="28575">
              <a:solidFill>
                <a:srgbClr val="25AAE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47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4AFE577-E93B-FAE9-8A26-4FD59E041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5455" y="240070"/>
            <a:ext cx="10972800" cy="643889"/>
          </a:xfrm>
        </p:spPr>
        <p:txBody>
          <a:bodyPr>
            <a:normAutofit/>
          </a:bodyPr>
          <a:lstStyle/>
          <a:p>
            <a:r>
              <a:rPr lang="en-US" sz="2600" dirty="0"/>
              <a:t>mRNA-4157-P201/KEYNOTE-942 Patient Demograph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8E551-4560-D374-818C-7BEFDF713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96B4A-66F4-420A-A099-F174BF1A0A2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831D7-8E15-F97B-0AB6-6AAC4B6C63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911606-0CF3-6D6E-18FB-CA5BE6113405}"/>
              </a:ext>
            </a:extLst>
          </p:cNvPr>
          <p:cNvSpPr txBox="1"/>
          <p:nvPr/>
        </p:nvSpPr>
        <p:spPr>
          <a:xfrm>
            <a:off x="665455" y="5964070"/>
            <a:ext cx="11301745" cy="307777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ree patients were not treated and therefore, had no baseline ECOG PS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ording to the 8th edition of the American Joint Committee on Cancer staging manual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ients for whom there was no sample to send for PD-L1 evaluation or for whom sample quality or quantity was too low to perform the assay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F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tatus determined by WES on baseline tumor samples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T refers to position 600 on BRAF gene. 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ailable for 154 patients. WES, whole exome sequencing; WT, wild type.  </a:t>
            </a:r>
          </a:p>
        </p:txBody>
      </p:sp>
      <p:graphicFrame>
        <p:nvGraphicFramePr>
          <p:cNvPr id="2" name="Table 10">
            <a:extLst>
              <a:ext uri="{FF2B5EF4-FFF2-40B4-BE49-F238E27FC236}">
                <a16:creationId xmlns:a16="http://schemas.microsoft.com/office/drawing/2014/main" id="{E4613706-3493-857B-4BAD-ADAE7A848D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9161836"/>
              </p:ext>
            </p:extLst>
          </p:nvPr>
        </p:nvGraphicFramePr>
        <p:xfrm>
          <a:off x="2180877" y="938525"/>
          <a:ext cx="8139213" cy="4831080"/>
        </p:xfrm>
        <a:graphic>
          <a:graphicData uri="http://schemas.openxmlformats.org/drawingml/2006/table">
            <a:tbl>
              <a:tblPr firstRow="1" bandRow="1"/>
              <a:tblGrid>
                <a:gridCol w="2713071">
                  <a:extLst>
                    <a:ext uri="{9D8B030D-6E8A-4147-A177-3AD203B41FA5}">
                      <a16:colId xmlns:a16="http://schemas.microsoft.com/office/drawing/2014/main" val="621311205"/>
                    </a:ext>
                  </a:extLst>
                </a:gridCol>
                <a:gridCol w="2713071">
                  <a:extLst>
                    <a:ext uri="{9D8B030D-6E8A-4147-A177-3AD203B41FA5}">
                      <a16:colId xmlns:a16="http://schemas.microsoft.com/office/drawing/2014/main" val="1029395902"/>
                    </a:ext>
                  </a:extLst>
                </a:gridCol>
                <a:gridCol w="2713071">
                  <a:extLst>
                    <a:ext uri="{9D8B030D-6E8A-4147-A177-3AD203B41FA5}">
                      <a16:colId xmlns:a16="http://schemas.microsoft.com/office/drawing/2014/main" val="1166763320"/>
                    </a:ext>
                  </a:extLst>
                </a:gridCol>
              </a:tblGrid>
              <a:tr h="1802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</a:rPr>
                        <a:t>Characteristic, n (%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</a:rPr>
                        <a:t>mRNA-4157 (V940) + pembro (n = 107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+mn-lt"/>
                        </a:rPr>
                        <a:t>Pembro (n = 50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011848"/>
                  </a:ext>
                </a:extLst>
              </a:tr>
              <a:tr h="1166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x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242278"/>
                  </a:ext>
                </a:extLst>
              </a:tr>
              <a:tr h="116602">
                <a:tc>
                  <a:txBody>
                    <a:bodyPr/>
                    <a:lstStyle/>
                    <a:p>
                      <a:pPr marL="118872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ale</a:t>
                      </a:r>
                    </a:p>
                    <a:p>
                      <a:pPr marL="118872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emale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70 (65.4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+mn-lt"/>
                        </a:rPr>
                        <a:t>37 (34.6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1 (62.0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 (38.0)</a:t>
                      </a: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8840795"/>
                  </a:ext>
                </a:extLst>
              </a:tr>
              <a:tr h="1166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ge, years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208173"/>
                  </a:ext>
                </a:extLst>
              </a:tr>
              <a:tr h="116602">
                <a:tc>
                  <a:txBody>
                    <a:bodyPr/>
                    <a:lstStyle/>
                    <a:p>
                      <a:pPr marL="118872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an (SD)</a:t>
                      </a:r>
                    </a:p>
                    <a:p>
                      <a:pPr marL="118872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ange (median)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61.3 (13.50)</a:t>
                      </a:r>
                    </a:p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63 (26-83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59.4 (14.25)</a:t>
                      </a:r>
                    </a:p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61.5 (24-89)</a:t>
                      </a: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337788"/>
                  </a:ext>
                </a:extLst>
              </a:tr>
              <a:tr h="1166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ge group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195399"/>
                  </a:ext>
                </a:extLst>
              </a:tr>
              <a:tr h="116602">
                <a:tc>
                  <a:txBody>
                    <a:bodyPr/>
                    <a:lstStyle/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&lt;65 years</a:t>
                      </a:r>
                    </a:p>
                    <a:p>
                      <a:pPr marL="118872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≥65 years</a:t>
                      </a:r>
                      <a:endParaRPr lang="en-US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59 (55.1)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48 (44.9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28 (56.0)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22 (44.0)</a:t>
                      </a:r>
                      <a:endParaRPr lang="en-US" sz="1000" b="1" dirty="0"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322446"/>
                  </a:ext>
                </a:extLst>
              </a:tr>
              <a:tr h="116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COG PS score</a:t>
                      </a:r>
                      <a:r>
                        <a:rPr lang="en-US" sz="1000" b="1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</a:t>
                      </a:r>
                      <a:endParaRPr lang="en-US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886242"/>
                  </a:ext>
                </a:extLst>
              </a:tr>
              <a:tr h="233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90 (84.1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15 (14.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0 (80.0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 (18.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646987"/>
                  </a:ext>
                </a:extLst>
              </a:tr>
              <a:tr h="116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age</a:t>
                      </a:r>
                      <a:r>
                        <a:rPr lang="en-US" sz="1000" b="1" baseline="30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17829"/>
                  </a:ext>
                </a:extLst>
              </a:tr>
              <a:tr h="3498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119063"/>
                      <a:r>
                        <a:rPr lang="en-US" sz="1000" b="0" dirty="0">
                          <a:latin typeface="+mn-lt"/>
                        </a:rPr>
                        <a:t>Stage IIIC</a:t>
                      </a:r>
                    </a:p>
                    <a:p>
                      <a:pPr marL="0" indent="119063"/>
                      <a:r>
                        <a:rPr lang="en-US" sz="1000" b="0" dirty="0">
                          <a:latin typeface="+mn-lt"/>
                        </a:rPr>
                        <a:t>Stage IIID</a:t>
                      </a:r>
                    </a:p>
                    <a:p>
                      <a:pPr marL="0" indent="119063"/>
                      <a:r>
                        <a:rPr lang="en-US" sz="1000" b="0" dirty="0">
                          <a:latin typeface="+mn-lt"/>
                        </a:rPr>
                        <a:t>Stage IV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9 (83.2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(1.9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 (15.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42 (84.0)</a:t>
                      </a:r>
                    </a:p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2 (4.0)</a:t>
                      </a:r>
                    </a:p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6 (12.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40026"/>
                  </a:ext>
                </a:extLst>
              </a:tr>
              <a:tr h="116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DH, U/L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722930"/>
                  </a:ext>
                </a:extLst>
              </a:tr>
              <a:tr h="116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dian (range)</a:t>
                      </a:r>
                    </a:p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&gt;ULN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89.5 (118-528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 (4.7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185.5 (113-1180)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3 (6.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57534"/>
                  </a:ext>
                </a:extLst>
              </a:tr>
              <a:tr h="116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ymph node dissection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4 (31.8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 (30.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153837"/>
                  </a:ext>
                </a:extLst>
              </a:tr>
              <a:tr h="116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D-L1 status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85016"/>
                  </a:ext>
                </a:extLst>
              </a:tr>
              <a:tr h="3498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ositive</a:t>
                      </a:r>
                    </a:p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egative</a:t>
                      </a:r>
                    </a:p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determinant</a:t>
                      </a:r>
                      <a:r>
                        <a:rPr lang="en-US" sz="1000" baseline="30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9 (64.5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 (12.1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 (23.4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7 (54.0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 (10.0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8 (36.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5820"/>
                  </a:ext>
                </a:extLst>
              </a:tr>
              <a:tr h="116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RAF</a:t>
                      </a:r>
                      <a:r>
                        <a:rPr lang="en-US" sz="1000" b="1" i="0" baseline="30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</a:t>
                      </a:r>
                      <a:r>
                        <a:rPr lang="en-US" sz="1000" b="1" i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380273"/>
                  </a:ext>
                </a:extLst>
              </a:tr>
              <a:tr h="166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600K or V600E mutation</a:t>
                      </a:r>
                    </a:p>
                    <a:p>
                      <a:pPr marL="118872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T</a:t>
                      </a:r>
                      <a:r>
                        <a:rPr lang="en-US" sz="1000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US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1 (38.3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6 (61.7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 (40.0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 (60.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691943"/>
                  </a:ext>
                </a:extLst>
              </a:tr>
              <a:tr h="116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umor mutational burden</a:t>
                      </a:r>
                      <a:r>
                        <a:rPr lang="de-DE" sz="1000" b="1" baseline="300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225898"/>
                  </a:ext>
                </a:extLst>
              </a:tr>
              <a:tr h="233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&lt;10 mutations/Mb</a:t>
                      </a:r>
                    </a:p>
                    <a:p>
                      <a:pPr marL="118872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≥10 mutations/Mb</a:t>
                      </a: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6 (24.3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9 (73.8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 (38.0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 (60.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68990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65950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70943E9-DE7D-770C-85BA-B659ECB7F2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635" imgH="635" progId="TCLayout.ActiveDocument.1">
                  <p:embed/>
                </p:oleObj>
              </mc:Choice>
              <mc:Fallback>
                <p:oleObj name="think-cell Slide" r:id="rId5" imgW="635" imgH="63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70943E9-DE7D-770C-85BA-B659ECB7F2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9699C9AD-A10D-FAAE-C8ED-30982E992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92283"/>
            <a:ext cx="11137314" cy="643889"/>
          </a:xfrm>
        </p:spPr>
        <p:txBody>
          <a:bodyPr>
            <a:noAutofit/>
          </a:bodyPr>
          <a:lstStyle/>
          <a:p>
            <a:r>
              <a:rPr lang="en-US" sz="2600" dirty="0"/>
              <a:t>Primary Efficacy Endpoint: RFS</a:t>
            </a:r>
            <a:r>
              <a:rPr lang="en-US" sz="2600" baseline="30000" dirty="0"/>
              <a:t>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CF209A-3873-8495-7CB6-35F6C69B87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96B4A-66F4-420A-A099-F174BF1A0A2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97A476E-EED1-02C0-9BB9-2DF0BAA280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2DC98B-C779-D919-6F0D-841C3009B8A6}"/>
              </a:ext>
            </a:extLst>
          </p:cNvPr>
          <p:cNvSpPr txBox="1"/>
          <p:nvPr/>
        </p:nvSpPr>
        <p:spPr>
          <a:xfrm>
            <a:off x="640080" y="5837481"/>
            <a:ext cx="11080432" cy="415498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Symbol" panose="05050102010706020507" pitchFamily="18" charset="2"/>
              </a:rPr>
              <a:t>a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hazard ratio and 95% CI for mRNA-4157 (V940) plus pembrolizumab versus pembrolizumab is estimated using a Cox proportional hazards model with treatment group as a covariate, stratified by disease stage (stages IIIB or IIIC or IIID vs stage IV) used for randomization. The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alue is based on a 1-sided log-rank test stratified by disease stage (stages IIIB or IIIC or IIID vs stage IV) used for randomiza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Khattak A, et al. Presented at the American Association for Cancer Research</a:t>
            </a: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AACR) Annual Meeting; April 14-19, 2023; Orlando, FL, USA. Oral presentation CT001.</a:t>
            </a:r>
          </a:p>
        </p:txBody>
      </p: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395715E1-9198-6D96-344F-0C2088AC932F}"/>
              </a:ext>
            </a:extLst>
          </p:cNvPr>
          <p:cNvGrpSpPr/>
          <p:nvPr/>
        </p:nvGrpSpPr>
        <p:grpSpPr>
          <a:xfrm>
            <a:off x="1308980" y="1110441"/>
            <a:ext cx="10153798" cy="3886391"/>
            <a:chOff x="1523489" y="1664852"/>
            <a:chExt cx="9926491" cy="3598680"/>
          </a:xfrm>
        </p:grpSpPr>
        <p:graphicFrame>
          <p:nvGraphicFramePr>
            <p:cNvPr id="274" name="Chart 273">
              <a:extLst>
                <a:ext uri="{FF2B5EF4-FFF2-40B4-BE49-F238E27FC236}">
                  <a16:creationId xmlns:a16="http://schemas.microsoft.com/office/drawing/2014/main" id="{11C97F86-A79E-E2D2-A647-F362DB25AD6B}"/>
                </a:ext>
              </a:extLst>
            </p:cNvPr>
            <p:cNvGraphicFramePr/>
            <p:nvPr/>
          </p:nvGraphicFramePr>
          <p:xfrm>
            <a:off x="1523489" y="1664852"/>
            <a:ext cx="9780494" cy="35986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D1B9CE15-5445-1745-7D01-1D4763B1ADB4}"/>
                </a:ext>
              </a:extLst>
            </p:cNvPr>
            <p:cNvSpPr/>
            <p:nvPr/>
          </p:nvSpPr>
          <p:spPr>
            <a:xfrm>
              <a:off x="10297195" y="4580966"/>
              <a:ext cx="1152785" cy="45514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76" name="Group 275">
            <a:extLst>
              <a:ext uri="{FF2B5EF4-FFF2-40B4-BE49-F238E27FC236}">
                <a16:creationId xmlns:a16="http://schemas.microsoft.com/office/drawing/2014/main" id="{ABE60E89-792F-12D2-C3B9-73B71E2EAE4F}"/>
              </a:ext>
            </a:extLst>
          </p:cNvPr>
          <p:cNvGrpSpPr/>
          <p:nvPr/>
        </p:nvGrpSpPr>
        <p:grpSpPr>
          <a:xfrm>
            <a:off x="2355724" y="1430494"/>
            <a:ext cx="7866272" cy="1522830"/>
            <a:chOff x="2355724" y="1697194"/>
            <a:chExt cx="7866272" cy="1522830"/>
          </a:xfrm>
        </p:grpSpPr>
        <p:grpSp>
          <p:nvGrpSpPr>
            <p:cNvPr id="277" name="object 2">
              <a:extLst>
                <a:ext uri="{FF2B5EF4-FFF2-40B4-BE49-F238E27FC236}">
                  <a16:creationId xmlns:a16="http://schemas.microsoft.com/office/drawing/2014/main" id="{FBF69CCE-F7CC-0D34-CAC4-30D9A7C01E8D}"/>
                </a:ext>
              </a:extLst>
            </p:cNvPr>
            <p:cNvGrpSpPr/>
            <p:nvPr/>
          </p:nvGrpSpPr>
          <p:grpSpPr>
            <a:xfrm>
              <a:off x="2398713" y="1831013"/>
              <a:ext cx="7771462" cy="1308667"/>
              <a:chOff x="3567493" y="598487"/>
              <a:chExt cx="9838055" cy="2522855"/>
            </a:xfrm>
          </p:grpSpPr>
          <p:sp>
            <p:nvSpPr>
              <p:cNvPr id="363" name="object 3">
                <a:extLst>
                  <a:ext uri="{FF2B5EF4-FFF2-40B4-BE49-F238E27FC236}">
                    <a16:creationId xmlns:a16="http://schemas.microsoft.com/office/drawing/2014/main" id="{D120021E-FDAD-26AA-9618-0F09BD611430}"/>
                  </a:ext>
                </a:extLst>
              </p:cNvPr>
              <p:cNvSpPr/>
              <p:nvPr/>
            </p:nvSpPr>
            <p:spPr>
              <a:xfrm>
                <a:off x="3581018" y="612013"/>
                <a:ext cx="9811385" cy="2348230"/>
              </a:xfrm>
              <a:custGeom>
                <a:avLst/>
                <a:gdLst/>
                <a:ahLst/>
                <a:cxnLst/>
                <a:rect l="l" t="t" r="r" b="b"/>
                <a:pathLst>
                  <a:path w="9811385" h="2348230">
                    <a:moveTo>
                      <a:pt x="0" y="0"/>
                    </a:moveTo>
                    <a:lnTo>
                      <a:pt x="573151" y="0"/>
                    </a:lnTo>
                    <a:lnTo>
                      <a:pt x="573151" y="51434"/>
                    </a:lnTo>
                    <a:lnTo>
                      <a:pt x="675766" y="51434"/>
                    </a:lnTo>
                    <a:lnTo>
                      <a:pt x="701420" y="51434"/>
                    </a:lnTo>
                    <a:lnTo>
                      <a:pt x="701420" y="155066"/>
                    </a:lnTo>
                    <a:lnTo>
                      <a:pt x="727075" y="155066"/>
                    </a:lnTo>
                    <a:lnTo>
                      <a:pt x="727075" y="310641"/>
                    </a:lnTo>
                    <a:lnTo>
                      <a:pt x="744219" y="310641"/>
                    </a:lnTo>
                    <a:lnTo>
                      <a:pt x="744219" y="362457"/>
                    </a:lnTo>
                    <a:lnTo>
                      <a:pt x="752728" y="362457"/>
                    </a:lnTo>
                    <a:lnTo>
                      <a:pt x="769873" y="362457"/>
                    </a:lnTo>
                    <a:lnTo>
                      <a:pt x="769873" y="414908"/>
                    </a:lnTo>
                    <a:lnTo>
                      <a:pt x="889634" y="414908"/>
                    </a:lnTo>
                    <a:lnTo>
                      <a:pt x="889634" y="467232"/>
                    </a:lnTo>
                    <a:lnTo>
                      <a:pt x="1137665" y="467232"/>
                    </a:lnTo>
                    <a:lnTo>
                      <a:pt x="1146302" y="467232"/>
                    </a:lnTo>
                    <a:lnTo>
                      <a:pt x="1146302" y="520191"/>
                    </a:lnTo>
                    <a:lnTo>
                      <a:pt x="1377188" y="520191"/>
                    </a:lnTo>
                    <a:lnTo>
                      <a:pt x="1377188" y="573151"/>
                    </a:lnTo>
                    <a:lnTo>
                      <a:pt x="1496948" y="573151"/>
                    </a:lnTo>
                    <a:lnTo>
                      <a:pt x="1505457" y="573151"/>
                    </a:lnTo>
                    <a:lnTo>
                      <a:pt x="1505457" y="626744"/>
                    </a:lnTo>
                    <a:lnTo>
                      <a:pt x="1548256" y="626744"/>
                    </a:lnTo>
                    <a:lnTo>
                      <a:pt x="1548256" y="680211"/>
                    </a:lnTo>
                    <a:lnTo>
                      <a:pt x="1582419" y="680211"/>
                    </a:lnTo>
                    <a:lnTo>
                      <a:pt x="1582419" y="733805"/>
                    </a:lnTo>
                    <a:lnTo>
                      <a:pt x="2121407" y="733805"/>
                    </a:lnTo>
                    <a:lnTo>
                      <a:pt x="2121407" y="787400"/>
                    </a:lnTo>
                    <a:lnTo>
                      <a:pt x="2232532" y="787400"/>
                    </a:lnTo>
                    <a:lnTo>
                      <a:pt x="2232532" y="840866"/>
                    </a:lnTo>
                    <a:lnTo>
                      <a:pt x="2617469" y="840866"/>
                    </a:lnTo>
                    <a:lnTo>
                      <a:pt x="2617469" y="894460"/>
                    </a:lnTo>
                    <a:lnTo>
                      <a:pt x="2839846" y="894460"/>
                    </a:lnTo>
                    <a:lnTo>
                      <a:pt x="2942462" y="894460"/>
                    </a:lnTo>
                    <a:lnTo>
                      <a:pt x="3301746" y="894460"/>
                    </a:lnTo>
                    <a:lnTo>
                      <a:pt x="3301746" y="949325"/>
                    </a:lnTo>
                    <a:lnTo>
                      <a:pt x="3455670" y="949325"/>
                    </a:lnTo>
                    <a:lnTo>
                      <a:pt x="3515613" y="949325"/>
                    </a:lnTo>
                    <a:lnTo>
                      <a:pt x="3532631" y="949325"/>
                    </a:lnTo>
                    <a:lnTo>
                      <a:pt x="3541267" y="949325"/>
                    </a:lnTo>
                    <a:lnTo>
                      <a:pt x="3575430" y="949325"/>
                    </a:lnTo>
                    <a:lnTo>
                      <a:pt x="3584066" y="949325"/>
                    </a:lnTo>
                    <a:lnTo>
                      <a:pt x="3601084" y="949325"/>
                    </a:lnTo>
                    <a:lnTo>
                      <a:pt x="3609721" y="949325"/>
                    </a:lnTo>
                    <a:lnTo>
                      <a:pt x="3635375" y="949325"/>
                    </a:lnTo>
                    <a:lnTo>
                      <a:pt x="3635375" y="1014602"/>
                    </a:lnTo>
                    <a:lnTo>
                      <a:pt x="3643883" y="1014602"/>
                    </a:lnTo>
                    <a:lnTo>
                      <a:pt x="3661029" y="1014602"/>
                    </a:lnTo>
                    <a:lnTo>
                      <a:pt x="3720846" y="1014602"/>
                    </a:lnTo>
                    <a:lnTo>
                      <a:pt x="3720846" y="1083055"/>
                    </a:lnTo>
                    <a:lnTo>
                      <a:pt x="3900551" y="1083055"/>
                    </a:lnTo>
                    <a:lnTo>
                      <a:pt x="4148581" y="1083055"/>
                    </a:lnTo>
                    <a:lnTo>
                      <a:pt x="4148581" y="1152525"/>
                    </a:lnTo>
                    <a:lnTo>
                      <a:pt x="4208399" y="1152525"/>
                    </a:lnTo>
                    <a:lnTo>
                      <a:pt x="4259707" y="1152525"/>
                    </a:lnTo>
                    <a:lnTo>
                      <a:pt x="4293997" y="1152525"/>
                    </a:lnTo>
                    <a:lnTo>
                      <a:pt x="4302506" y="1152525"/>
                    </a:lnTo>
                    <a:lnTo>
                      <a:pt x="4319651" y="1152525"/>
                    </a:lnTo>
                    <a:lnTo>
                      <a:pt x="4328159" y="1152525"/>
                    </a:lnTo>
                    <a:lnTo>
                      <a:pt x="4353813" y="1152525"/>
                    </a:lnTo>
                    <a:lnTo>
                      <a:pt x="4379467" y="1152525"/>
                    </a:lnTo>
                    <a:lnTo>
                      <a:pt x="4405122" y="1152525"/>
                    </a:lnTo>
                    <a:lnTo>
                      <a:pt x="4918329" y="1152525"/>
                    </a:lnTo>
                    <a:lnTo>
                      <a:pt x="4969636" y="1152525"/>
                    </a:lnTo>
                    <a:lnTo>
                      <a:pt x="5003927" y="1152525"/>
                    </a:lnTo>
                    <a:lnTo>
                      <a:pt x="5012435" y="1152525"/>
                    </a:lnTo>
                    <a:lnTo>
                      <a:pt x="5038089" y="1152525"/>
                    </a:lnTo>
                    <a:lnTo>
                      <a:pt x="5046726" y="1152525"/>
                    </a:lnTo>
                    <a:lnTo>
                      <a:pt x="5055234" y="1152525"/>
                    </a:lnTo>
                    <a:lnTo>
                      <a:pt x="5080888" y="1152525"/>
                    </a:lnTo>
                    <a:lnTo>
                      <a:pt x="5140706" y="1152525"/>
                    </a:lnTo>
                    <a:lnTo>
                      <a:pt x="5346064" y="1152525"/>
                    </a:lnTo>
                    <a:lnTo>
                      <a:pt x="5576951" y="1152525"/>
                    </a:lnTo>
                    <a:lnTo>
                      <a:pt x="5705348" y="1152525"/>
                    </a:lnTo>
                    <a:lnTo>
                      <a:pt x="5722365" y="1152525"/>
                    </a:lnTo>
                    <a:lnTo>
                      <a:pt x="5748020" y="1152525"/>
                    </a:lnTo>
                    <a:lnTo>
                      <a:pt x="5756656" y="1152525"/>
                    </a:lnTo>
                    <a:lnTo>
                      <a:pt x="5773674" y="1152525"/>
                    </a:lnTo>
                    <a:lnTo>
                      <a:pt x="5790819" y="1152525"/>
                    </a:lnTo>
                    <a:lnTo>
                      <a:pt x="5816473" y="1152525"/>
                    </a:lnTo>
                    <a:lnTo>
                      <a:pt x="5850762" y="1152525"/>
                    </a:lnTo>
                    <a:lnTo>
                      <a:pt x="5859272" y="1152525"/>
                    </a:lnTo>
                    <a:lnTo>
                      <a:pt x="5902071" y="1152525"/>
                    </a:lnTo>
                    <a:lnTo>
                      <a:pt x="5902071" y="1315592"/>
                    </a:lnTo>
                    <a:lnTo>
                      <a:pt x="5936233" y="1315592"/>
                    </a:lnTo>
                    <a:lnTo>
                      <a:pt x="6363970" y="1315592"/>
                    </a:lnTo>
                    <a:lnTo>
                      <a:pt x="6406641" y="1315592"/>
                    </a:lnTo>
                    <a:lnTo>
                      <a:pt x="6483731" y="1315592"/>
                    </a:lnTo>
                    <a:lnTo>
                      <a:pt x="6671817" y="1315592"/>
                    </a:lnTo>
                    <a:lnTo>
                      <a:pt x="7313422" y="1315592"/>
                    </a:lnTo>
                    <a:lnTo>
                      <a:pt x="7321931" y="1315592"/>
                    </a:lnTo>
                    <a:lnTo>
                      <a:pt x="7373238" y="1315592"/>
                    </a:lnTo>
                    <a:lnTo>
                      <a:pt x="7381748" y="1315592"/>
                    </a:lnTo>
                    <a:lnTo>
                      <a:pt x="7441691" y="1315592"/>
                    </a:lnTo>
                    <a:lnTo>
                      <a:pt x="7441691" y="1587372"/>
                    </a:lnTo>
                    <a:lnTo>
                      <a:pt x="7484490" y="1587372"/>
                    </a:lnTo>
                    <a:lnTo>
                      <a:pt x="7552816" y="1587372"/>
                    </a:lnTo>
                    <a:lnTo>
                      <a:pt x="7604252" y="1587372"/>
                    </a:lnTo>
                    <a:lnTo>
                      <a:pt x="7723885" y="1587372"/>
                    </a:lnTo>
                    <a:lnTo>
                      <a:pt x="7809483" y="1587372"/>
                    </a:lnTo>
                    <a:lnTo>
                      <a:pt x="8750427" y="1587372"/>
                    </a:lnTo>
                    <a:lnTo>
                      <a:pt x="9083929" y="1587372"/>
                    </a:lnTo>
                    <a:lnTo>
                      <a:pt x="9212199" y="1587372"/>
                    </a:lnTo>
                    <a:lnTo>
                      <a:pt x="9212199" y="2348229"/>
                    </a:lnTo>
                    <a:lnTo>
                      <a:pt x="9254998" y="2348229"/>
                    </a:lnTo>
                    <a:lnTo>
                      <a:pt x="9460357" y="2348229"/>
                    </a:lnTo>
                    <a:lnTo>
                      <a:pt x="9528683" y="2348229"/>
                    </a:lnTo>
                    <a:lnTo>
                      <a:pt x="9811004" y="2348229"/>
                    </a:lnTo>
                  </a:path>
                </a:pathLst>
              </a:custGeom>
              <a:ln w="27051" cap="sq">
                <a:solidFill>
                  <a:srgbClr val="E31837"/>
                </a:solidFill>
                <a:miter lim="800000"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64" name="object 4">
                <a:extLst>
                  <a:ext uri="{FF2B5EF4-FFF2-40B4-BE49-F238E27FC236}">
                    <a16:creationId xmlns:a16="http://schemas.microsoft.com/office/drawing/2014/main" id="{6CDD08A1-0FEF-6E95-3406-0D3704E88EEB}"/>
                  </a:ext>
                </a:extLst>
              </p:cNvPr>
              <p:cNvSpPr/>
              <p:nvPr/>
            </p:nvSpPr>
            <p:spPr>
              <a:xfrm>
                <a:off x="3581018" y="612013"/>
                <a:ext cx="9460865" cy="2496185"/>
              </a:xfrm>
              <a:custGeom>
                <a:avLst/>
                <a:gdLst/>
                <a:ahLst/>
                <a:cxnLst/>
                <a:rect l="l" t="t" r="r" b="b"/>
                <a:pathLst>
                  <a:path w="9460865" h="2496185">
                    <a:moveTo>
                      <a:pt x="0" y="0"/>
                    </a:moveTo>
                    <a:lnTo>
                      <a:pt x="8635" y="0"/>
                    </a:lnTo>
                    <a:lnTo>
                      <a:pt x="307975" y="0"/>
                    </a:lnTo>
                    <a:lnTo>
                      <a:pt x="307975" y="112394"/>
                    </a:lnTo>
                    <a:lnTo>
                      <a:pt x="427735" y="112394"/>
                    </a:lnTo>
                    <a:lnTo>
                      <a:pt x="427735" y="224662"/>
                    </a:lnTo>
                    <a:lnTo>
                      <a:pt x="564641" y="224662"/>
                    </a:lnTo>
                    <a:lnTo>
                      <a:pt x="564641" y="337057"/>
                    </a:lnTo>
                    <a:lnTo>
                      <a:pt x="701420" y="337057"/>
                    </a:lnTo>
                    <a:lnTo>
                      <a:pt x="701420" y="449325"/>
                    </a:lnTo>
                    <a:lnTo>
                      <a:pt x="761364" y="449325"/>
                    </a:lnTo>
                    <a:lnTo>
                      <a:pt x="761364" y="561720"/>
                    </a:lnTo>
                    <a:lnTo>
                      <a:pt x="1052194" y="561720"/>
                    </a:lnTo>
                    <a:lnTo>
                      <a:pt x="1052194" y="673988"/>
                    </a:lnTo>
                    <a:lnTo>
                      <a:pt x="1531111" y="673988"/>
                    </a:lnTo>
                    <a:lnTo>
                      <a:pt x="1531111" y="786383"/>
                    </a:lnTo>
                    <a:lnTo>
                      <a:pt x="2147061" y="786383"/>
                    </a:lnTo>
                    <a:lnTo>
                      <a:pt x="2147061" y="898651"/>
                    </a:lnTo>
                    <a:lnTo>
                      <a:pt x="2446401" y="898651"/>
                    </a:lnTo>
                    <a:lnTo>
                      <a:pt x="2446401" y="1011046"/>
                    </a:lnTo>
                    <a:lnTo>
                      <a:pt x="2591816" y="1011046"/>
                    </a:lnTo>
                    <a:lnTo>
                      <a:pt x="2591816" y="1123314"/>
                    </a:lnTo>
                    <a:lnTo>
                      <a:pt x="2839846" y="1123314"/>
                    </a:lnTo>
                    <a:lnTo>
                      <a:pt x="2839846" y="1235709"/>
                    </a:lnTo>
                    <a:lnTo>
                      <a:pt x="3635375" y="1235709"/>
                    </a:lnTo>
                    <a:lnTo>
                      <a:pt x="3635375" y="1347977"/>
                    </a:lnTo>
                    <a:lnTo>
                      <a:pt x="3652392" y="1347977"/>
                    </a:lnTo>
                    <a:lnTo>
                      <a:pt x="3652392" y="1460372"/>
                    </a:lnTo>
                    <a:lnTo>
                      <a:pt x="3661029" y="1460372"/>
                    </a:lnTo>
                    <a:lnTo>
                      <a:pt x="3669537" y="1460372"/>
                    </a:lnTo>
                    <a:lnTo>
                      <a:pt x="3669537" y="1575942"/>
                    </a:lnTo>
                    <a:lnTo>
                      <a:pt x="4285360" y="1575942"/>
                    </a:lnTo>
                    <a:lnTo>
                      <a:pt x="4285360" y="1691639"/>
                    </a:lnTo>
                    <a:lnTo>
                      <a:pt x="4319651" y="1691639"/>
                    </a:lnTo>
                    <a:lnTo>
                      <a:pt x="4319651" y="1807336"/>
                    </a:lnTo>
                    <a:lnTo>
                      <a:pt x="4362323" y="1807336"/>
                    </a:lnTo>
                    <a:lnTo>
                      <a:pt x="4362323" y="1922906"/>
                    </a:lnTo>
                    <a:lnTo>
                      <a:pt x="4473575" y="1922906"/>
                    </a:lnTo>
                    <a:lnTo>
                      <a:pt x="4473575" y="2038603"/>
                    </a:lnTo>
                    <a:lnTo>
                      <a:pt x="4678807" y="2038603"/>
                    </a:lnTo>
                    <a:lnTo>
                      <a:pt x="4986782" y="2038603"/>
                    </a:lnTo>
                    <a:lnTo>
                      <a:pt x="4995290" y="2038603"/>
                    </a:lnTo>
                    <a:lnTo>
                      <a:pt x="5003927" y="2038603"/>
                    </a:lnTo>
                    <a:lnTo>
                      <a:pt x="5029581" y="2038603"/>
                    </a:lnTo>
                    <a:lnTo>
                      <a:pt x="5046726" y="2038603"/>
                    </a:lnTo>
                    <a:lnTo>
                      <a:pt x="5080888" y="2038603"/>
                    </a:lnTo>
                    <a:lnTo>
                      <a:pt x="5098033" y="2038603"/>
                    </a:lnTo>
                    <a:lnTo>
                      <a:pt x="5311775" y="2038603"/>
                    </a:lnTo>
                    <a:lnTo>
                      <a:pt x="5645404" y="2038603"/>
                    </a:lnTo>
                    <a:lnTo>
                      <a:pt x="5645404" y="2206243"/>
                    </a:lnTo>
                    <a:lnTo>
                      <a:pt x="5662549" y="2206243"/>
                    </a:lnTo>
                    <a:lnTo>
                      <a:pt x="5756656" y="2206243"/>
                    </a:lnTo>
                    <a:lnTo>
                      <a:pt x="5782309" y="2206243"/>
                    </a:lnTo>
                    <a:lnTo>
                      <a:pt x="5867781" y="2206243"/>
                    </a:lnTo>
                    <a:lnTo>
                      <a:pt x="5884926" y="2206243"/>
                    </a:lnTo>
                    <a:lnTo>
                      <a:pt x="6090158" y="2206243"/>
                    </a:lnTo>
                    <a:lnTo>
                      <a:pt x="6175756" y="2206243"/>
                    </a:lnTo>
                    <a:lnTo>
                      <a:pt x="6603364" y="2206243"/>
                    </a:lnTo>
                    <a:lnTo>
                      <a:pt x="6603364" y="2495804"/>
                    </a:lnTo>
                    <a:lnTo>
                      <a:pt x="6654800" y="2495804"/>
                    </a:lnTo>
                    <a:lnTo>
                      <a:pt x="6748780" y="2495804"/>
                    </a:lnTo>
                    <a:lnTo>
                      <a:pt x="6783070" y="2495804"/>
                    </a:lnTo>
                    <a:lnTo>
                      <a:pt x="6894195" y="2495804"/>
                    </a:lnTo>
                    <a:lnTo>
                      <a:pt x="7441691" y="2495804"/>
                    </a:lnTo>
                    <a:lnTo>
                      <a:pt x="7552816" y="2495804"/>
                    </a:lnTo>
                    <a:lnTo>
                      <a:pt x="7698232" y="2495804"/>
                    </a:lnTo>
                    <a:lnTo>
                      <a:pt x="7783830" y="2495804"/>
                    </a:lnTo>
                    <a:lnTo>
                      <a:pt x="9460357" y="2495804"/>
                    </a:lnTo>
                  </a:path>
                </a:pathLst>
              </a:custGeom>
              <a:ln w="27051" cap="sq">
                <a:solidFill>
                  <a:srgbClr val="4D4D4F"/>
                </a:solidFill>
                <a:miter lim="800000"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278" name="object 5">
              <a:extLst>
                <a:ext uri="{FF2B5EF4-FFF2-40B4-BE49-F238E27FC236}">
                  <a16:creationId xmlns:a16="http://schemas.microsoft.com/office/drawing/2014/main" id="{6294DB1D-877D-C0E0-6ED0-384A01363355}"/>
                </a:ext>
              </a:extLst>
            </p:cNvPr>
            <p:cNvSpPr txBox="1"/>
            <p:nvPr/>
          </p:nvSpPr>
          <p:spPr>
            <a:xfrm>
              <a:off x="2948619" y="1890408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79" name="object 6">
              <a:extLst>
                <a:ext uri="{FF2B5EF4-FFF2-40B4-BE49-F238E27FC236}">
                  <a16:creationId xmlns:a16="http://schemas.microsoft.com/office/drawing/2014/main" id="{87E31488-2F2B-88DD-9F08-5123CA24FA64}"/>
                </a:ext>
              </a:extLst>
            </p:cNvPr>
            <p:cNvSpPr txBox="1"/>
            <p:nvPr/>
          </p:nvSpPr>
          <p:spPr>
            <a:xfrm>
              <a:off x="2894946" y="1720563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80" name="object 8">
              <a:extLst>
                <a:ext uri="{FF2B5EF4-FFF2-40B4-BE49-F238E27FC236}">
                  <a16:creationId xmlns:a16="http://schemas.microsoft.com/office/drawing/2014/main" id="{BFF45E48-9DB0-3654-F417-5EEFC58D2BB5}"/>
                </a:ext>
              </a:extLst>
            </p:cNvPr>
            <p:cNvSpPr txBox="1"/>
            <p:nvPr/>
          </p:nvSpPr>
          <p:spPr>
            <a:xfrm>
              <a:off x="3248399" y="1938797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81" name="object 17">
              <a:extLst>
                <a:ext uri="{FF2B5EF4-FFF2-40B4-BE49-F238E27FC236}">
                  <a16:creationId xmlns:a16="http://schemas.microsoft.com/office/drawing/2014/main" id="{4D59EB66-6763-1AC2-DE46-6C4BD1EBB31F}"/>
                </a:ext>
              </a:extLst>
            </p:cNvPr>
            <p:cNvSpPr txBox="1"/>
            <p:nvPr/>
          </p:nvSpPr>
          <p:spPr>
            <a:xfrm>
              <a:off x="10085655" y="2916279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282" name="object 19">
              <a:extLst>
                <a:ext uri="{FF2B5EF4-FFF2-40B4-BE49-F238E27FC236}">
                  <a16:creationId xmlns:a16="http://schemas.microsoft.com/office/drawing/2014/main" id="{EDB0F269-DF83-7DA5-62E7-53DCED048536}"/>
                </a:ext>
              </a:extLst>
            </p:cNvPr>
            <p:cNvSpPr txBox="1"/>
            <p:nvPr/>
          </p:nvSpPr>
          <p:spPr>
            <a:xfrm>
              <a:off x="2355724" y="1697194"/>
              <a:ext cx="116261" cy="22826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270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283" name="object 20">
              <a:extLst>
                <a:ext uri="{FF2B5EF4-FFF2-40B4-BE49-F238E27FC236}">
                  <a16:creationId xmlns:a16="http://schemas.microsoft.com/office/drawing/2014/main" id="{BD78E063-AE18-9A62-168B-3DB2B1F6638B}"/>
                </a:ext>
              </a:extLst>
            </p:cNvPr>
            <p:cNvSpPr txBox="1"/>
            <p:nvPr/>
          </p:nvSpPr>
          <p:spPr>
            <a:xfrm>
              <a:off x="5244109" y="2456024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84" name="object 25">
              <a:extLst>
                <a:ext uri="{FF2B5EF4-FFF2-40B4-BE49-F238E27FC236}">
                  <a16:creationId xmlns:a16="http://schemas.microsoft.com/office/drawing/2014/main" id="{34FDF869-4BD5-88A7-665D-E19A798B4B5D}"/>
                </a:ext>
              </a:extLst>
            </p:cNvPr>
            <p:cNvSpPr txBox="1"/>
            <p:nvPr/>
          </p:nvSpPr>
          <p:spPr>
            <a:xfrm>
              <a:off x="9829261" y="2989136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85" name="object 20">
              <a:extLst>
                <a:ext uri="{FF2B5EF4-FFF2-40B4-BE49-F238E27FC236}">
                  <a16:creationId xmlns:a16="http://schemas.microsoft.com/office/drawing/2014/main" id="{9BDE8075-A6EF-44A9-A32C-46A4E5B23B01}"/>
                </a:ext>
              </a:extLst>
            </p:cNvPr>
            <p:cNvSpPr txBox="1"/>
            <p:nvPr/>
          </p:nvSpPr>
          <p:spPr>
            <a:xfrm>
              <a:off x="6049743" y="2753507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86" name="object 20">
              <a:extLst>
                <a:ext uri="{FF2B5EF4-FFF2-40B4-BE49-F238E27FC236}">
                  <a16:creationId xmlns:a16="http://schemas.microsoft.com/office/drawing/2014/main" id="{F7806808-1804-5E6D-F3CB-DB7F72125086}"/>
                </a:ext>
              </a:extLst>
            </p:cNvPr>
            <p:cNvSpPr txBox="1"/>
            <p:nvPr/>
          </p:nvSpPr>
          <p:spPr>
            <a:xfrm>
              <a:off x="6546963" y="2753507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87" name="object 20">
              <a:extLst>
                <a:ext uri="{FF2B5EF4-FFF2-40B4-BE49-F238E27FC236}">
                  <a16:creationId xmlns:a16="http://schemas.microsoft.com/office/drawing/2014/main" id="{E44E5B4E-2057-8738-DB31-269765BF905B}"/>
                </a:ext>
              </a:extLst>
            </p:cNvPr>
            <p:cNvSpPr txBox="1"/>
            <p:nvPr/>
          </p:nvSpPr>
          <p:spPr>
            <a:xfrm>
              <a:off x="6284594" y="2753507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88" name="object 20">
              <a:extLst>
                <a:ext uri="{FF2B5EF4-FFF2-40B4-BE49-F238E27FC236}">
                  <a16:creationId xmlns:a16="http://schemas.microsoft.com/office/drawing/2014/main" id="{2F01AFF3-7D69-E25F-F152-EC0D0BCEBAA9}"/>
                </a:ext>
              </a:extLst>
            </p:cNvPr>
            <p:cNvSpPr txBox="1"/>
            <p:nvPr/>
          </p:nvSpPr>
          <p:spPr>
            <a:xfrm>
              <a:off x="6296311" y="2753507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89" name="object 20">
              <a:extLst>
                <a:ext uri="{FF2B5EF4-FFF2-40B4-BE49-F238E27FC236}">
                  <a16:creationId xmlns:a16="http://schemas.microsoft.com/office/drawing/2014/main" id="{7AF2A659-8D9D-53BA-D9E7-8B53EA7BAE77}"/>
                </a:ext>
              </a:extLst>
            </p:cNvPr>
            <p:cNvSpPr txBox="1"/>
            <p:nvPr/>
          </p:nvSpPr>
          <p:spPr>
            <a:xfrm>
              <a:off x="6363381" y="2753507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0" name="object 20">
              <a:extLst>
                <a:ext uri="{FF2B5EF4-FFF2-40B4-BE49-F238E27FC236}">
                  <a16:creationId xmlns:a16="http://schemas.microsoft.com/office/drawing/2014/main" id="{4E6DA7C9-A437-FB33-7988-159DD83E50F0}"/>
                </a:ext>
              </a:extLst>
            </p:cNvPr>
            <p:cNvSpPr txBox="1"/>
            <p:nvPr/>
          </p:nvSpPr>
          <p:spPr>
            <a:xfrm>
              <a:off x="6376673" y="2753507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1" name="object 20">
              <a:extLst>
                <a:ext uri="{FF2B5EF4-FFF2-40B4-BE49-F238E27FC236}">
                  <a16:creationId xmlns:a16="http://schemas.microsoft.com/office/drawing/2014/main" id="{88AE6E4C-A917-A81C-3C5F-E191BD421474}"/>
                </a:ext>
              </a:extLst>
            </p:cNvPr>
            <p:cNvSpPr txBox="1"/>
            <p:nvPr/>
          </p:nvSpPr>
          <p:spPr>
            <a:xfrm>
              <a:off x="6336939" y="2753507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2" name="object 20">
              <a:extLst>
                <a:ext uri="{FF2B5EF4-FFF2-40B4-BE49-F238E27FC236}">
                  <a16:creationId xmlns:a16="http://schemas.microsoft.com/office/drawing/2014/main" id="{E7E8B18E-A7D1-8D37-59E4-FD01860518B2}"/>
                </a:ext>
              </a:extLst>
            </p:cNvPr>
            <p:cNvSpPr txBox="1"/>
            <p:nvPr/>
          </p:nvSpPr>
          <p:spPr>
            <a:xfrm>
              <a:off x="6325059" y="2753507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3" name="object 20">
              <a:extLst>
                <a:ext uri="{FF2B5EF4-FFF2-40B4-BE49-F238E27FC236}">
                  <a16:creationId xmlns:a16="http://schemas.microsoft.com/office/drawing/2014/main" id="{AB486656-089D-CB94-E018-8CD7D3D88CF9}"/>
                </a:ext>
              </a:extLst>
            </p:cNvPr>
            <p:cNvSpPr txBox="1"/>
            <p:nvPr/>
          </p:nvSpPr>
          <p:spPr>
            <a:xfrm>
              <a:off x="6827164" y="2839085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4" name="object 20">
              <a:extLst>
                <a:ext uri="{FF2B5EF4-FFF2-40B4-BE49-F238E27FC236}">
                  <a16:creationId xmlns:a16="http://schemas.microsoft.com/office/drawing/2014/main" id="{2F120BC5-96D4-F4FE-06F0-01C6581C661E}"/>
                </a:ext>
              </a:extLst>
            </p:cNvPr>
            <p:cNvSpPr txBox="1"/>
            <p:nvPr/>
          </p:nvSpPr>
          <p:spPr>
            <a:xfrm>
              <a:off x="6900112" y="2839085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5" name="object 20">
              <a:extLst>
                <a:ext uri="{FF2B5EF4-FFF2-40B4-BE49-F238E27FC236}">
                  <a16:creationId xmlns:a16="http://schemas.microsoft.com/office/drawing/2014/main" id="{FE890679-025D-D93D-6C2F-346CFBA8CBC3}"/>
                </a:ext>
              </a:extLst>
            </p:cNvPr>
            <p:cNvSpPr txBox="1"/>
            <p:nvPr/>
          </p:nvSpPr>
          <p:spPr>
            <a:xfrm>
              <a:off x="6929227" y="2839085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6" name="object 20">
              <a:extLst>
                <a:ext uri="{FF2B5EF4-FFF2-40B4-BE49-F238E27FC236}">
                  <a16:creationId xmlns:a16="http://schemas.microsoft.com/office/drawing/2014/main" id="{88CB570E-4BFB-6BCC-0C92-4639512F73D6}"/>
                </a:ext>
              </a:extLst>
            </p:cNvPr>
            <p:cNvSpPr txBox="1"/>
            <p:nvPr/>
          </p:nvSpPr>
          <p:spPr>
            <a:xfrm>
              <a:off x="6990225" y="2839085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7" name="object 20">
              <a:extLst>
                <a:ext uri="{FF2B5EF4-FFF2-40B4-BE49-F238E27FC236}">
                  <a16:creationId xmlns:a16="http://schemas.microsoft.com/office/drawing/2014/main" id="{15B6FEA4-524E-E095-7478-7E9C097FE9AD}"/>
                </a:ext>
              </a:extLst>
            </p:cNvPr>
            <p:cNvSpPr txBox="1"/>
            <p:nvPr/>
          </p:nvSpPr>
          <p:spPr>
            <a:xfrm>
              <a:off x="7004276" y="2839085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8" name="object 20">
              <a:extLst>
                <a:ext uri="{FF2B5EF4-FFF2-40B4-BE49-F238E27FC236}">
                  <a16:creationId xmlns:a16="http://schemas.microsoft.com/office/drawing/2014/main" id="{D82B852F-6524-5FD3-69E2-713664C2B088}"/>
                </a:ext>
              </a:extLst>
            </p:cNvPr>
            <p:cNvSpPr txBox="1"/>
            <p:nvPr/>
          </p:nvSpPr>
          <p:spPr>
            <a:xfrm>
              <a:off x="7164332" y="2839085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299" name="object 20">
              <a:extLst>
                <a:ext uri="{FF2B5EF4-FFF2-40B4-BE49-F238E27FC236}">
                  <a16:creationId xmlns:a16="http://schemas.microsoft.com/office/drawing/2014/main" id="{3023EC9A-EEC3-6995-14E7-96C8BDB07E3E}"/>
                </a:ext>
              </a:extLst>
            </p:cNvPr>
            <p:cNvSpPr txBox="1"/>
            <p:nvPr/>
          </p:nvSpPr>
          <p:spPr>
            <a:xfrm>
              <a:off x="7230988" y="2839085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300" name="object 25">
              <a:extLst>
                <a:ext uri="{FF2B5EF4-FFF2-40B4-BE49-F238E27FC236}">
                  <a16:creationId xmlns:a16="http://schemas.microsoft.com/office/drawing/2014/main" id="{E3DEE300-C82E-E675-42E8-F5DA3110D83F}"/>
                </a:ext>
              </a:extLst>
            </p:cNvPr>
            <p:cNvSpPr txBox="1"/>
            <p:nvPr/>
          </p:nvSpPr>
          <p:spPr>
            <a:xfrm>
              <a:off x="8502247" y="2991756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301" name="object 25">
              <a:extLst>
                <a:ext uri="{FF2B5EF4-FFF2-40B4-BE49-F238E27FC236}">
                  <a16:creationId xmlns:a16="http://schemas.microsoft.com/office/drawing/2014/main" id="{33C0D387-5092-4A41-D859-FDA4327F4A8A}"/>
                </a:ext>
              </a:extLst>
            </p:cNvPr>
            <p:cNvSpPr txBox="1"/>
            <p:nvPr/>
          </p:nvSpPr>
          <p:spPr>
            <a:xfrm>
              <a:off x="8435591" y="2991756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302" name="object 25">
              <a:extLst>
                <a:ext uri="{FF2B5EF4-FFF2-40B4-BE49-F238E27FC236}">
                  <a16:creationId xmlns:a16="http://schemas.microsoft.com/office/drawing/2014/main" id="{8EAC1C12-4930-8751-4446-DDB41955CF13}"/>
                </a:ext>
              </a:extLst>
            </p:cNvPr>
            <p:cNvSpPr txBox="1"/>
            <p:nvPr/>
          </p:nvSpPr>
          <p:spPr>
            <a:xfrm>
              <a:off x="8316182" y="2991756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303" name="object 25">
              <a:extLst>
                <a:ext uri="{FF2B5EF4-FFF2-40B4-BE49-F238E27FC236}">
                  <a16:creationId xmlns:a16="http://schemas.microsoft.com/office/drawing/2014/main" id="{4F40F28F-1A71-A917-A64F-EA1FD269B86B}"/>
                </a:ext>
              </a:extLst>
            </p:cNvPr>
            <p:cNvSpPr txBox="1"/>
            <p:nvPr/>
          </p:nvSpPr>
          <p:spPr>
            <a:xfrm>
              <a:off x="8233012" y="2991756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304" name="object 25">
              <a:extLst>
                <a:ext uri="{FF2B5EF4-FFF2-40B4-BE49-F238E27FC236}">
                  <a16:creationId xmlns:a16="http://schemas.microsoft.com/office/drawing/2014/main" id="{38AA5F72-DEEF-C165-CD17-2383D0D54F16}"/>
                </a:ext>
              </a:extLst>
            </p:cNvPr>
            <p:cNvSpPr txBox="1"/>
            <p:nvPr/>
          </p:nvSpPr>
          <p:spPr>
            <a:xfrm>
              <a:off x="7803058" y="2991756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305" name="object 25">
              <a:extLst>
                <a:ext uri="{FF2B5EF4-FFF2-40B4-BE49-F238E27FC236}">
                  <a16:creationId xmlns:a16="http://schemas.microsoft.com/office/drawing/2014/main" id="{2B5DB86D-A003-BA7A-9C5E-AE0A282043FB}"/>
                </a:ext>
              </a:extLst>
            </p:cNvPr>
            <p:cNvSpPr txBox="1"/>
            <p:nvPr/>
          </p:nvSpPr>
          <p:spPr>
            <a:xfrm>
              <a:off x="7712992" y="2991756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306" name="object 25">
              <a:extLst>
                <a:ext uri="{FF2B5EF4-FFF2-40B4-BE49-F238E27FC236}">
                  <a16:creationId xmlns:a16="http://schemas.microsoft.com/office/drawing/2014/main" id="{48A934A6-3E87-0526-7E43-78AA795F96BA}"/>
                </a:ext>
              </a:extLst>
            </p:cNvPr>
            <p:cNvSpPr txBox="1"/>
            <p:nvPr/>
          </p:nvSpPr>
          <p:spPr>
            <a:xfrm>
              <a:off x="7680759" y="2991756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307" name="object 25">
              <a:extLst>
                <a:ext uri="{FF2B5EF4-FFF2-40B4-BE49-F238E27FC236}">
                  <a16:creationId xmlns:a16="http://schemas.microsoft.com/office/drawing/2014/main" id="{FBEC74A6-7E5A-E2C9-9174-4920644D9AC0}"/>
                </a:ext>
              </a:extLst>
            </p:cNvPr>
            <p:cNvSpPr txBox="1"/>
            <p:nvPr/>
          </p:nvSpPr>
          <p:spPr>
            <a:xfrm>
              <a:off x="7604928" y="2991756"/>
              <a:ext cx="107282" cy="228268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</a:p>
          </p:txBody>
        </p:sp>
        <p:sp>
          <p:nvSpPr>
            <p:cNvPr id="308" name="object 17">
              <a:extLst>
                <a:ext uri="{FF2B5EF4-FFF2-40B4-BE49-F238E27FC236}">
                  <a16:creationId xmlns:a16="http://schemas.microsoft.com/office/drawing/2014/main" id="{0AC6F351-B9F1-54AA-E459-844E562EC770}"/>
                </a:ext>
              </a:extLst>
            </p:cNvPr>
            <p:cNvSpPr txBox="1"/>
            <p:nvPr/>
          </p:nvSpPr>
          <p:spPr>
            <a:xfrm>
              <a:off x="9863949" y="2916279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09" name="object 17">
              <a:extLst>
                <a:ext uri="{FF2B5EF4-FFF2-40B4-BE49-F238E27FC236}">
                  <a16:creationId xmlns:a16="http://schemas.microsoft.com/office/drawing/2014/main" id="{B3C56FEE-BA4C-8143-B397-EC99D0D228CE}"/>
                </a:ext>
              </a:extLst>
            </p:cNvPr>
            <p:cNvSpPr txBox="1"/>
            <p:nvPr/>
          </p:nvSpPr>
          <p:spPr>
            <a:xfrm>
              <a:off x="9807142" y="2916279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0" name="object 17">
              <a:extLst>
                <a:ext uri="{FF2B5EF4-FFF2-40B4-BE49-F238E27FC236}">
                  <a16:creationId xmlns:a16="http://schemas.microsoft.com/office/drawing/2014/main" id="{AEEB6104-1A4D-E329-BB57-AE09066E754D}"/>
                </a:ext>
              </a:extLst>
            </p:cNvPr>
            <p:cNvSpPr txBox="1"/>
            <p:nvPr/>
          </p:nvSpPr>
          <p:spPr>
            <a:xfrm>
              <a:off x="9639938" y="2916279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1" name="object 17">
              <a:extLst>
                <a:ext uri="{FF2B5EF4-FFF2-40B4-BE49-F238E27FC236}">
                  <a16:creationId xmlns:a16="http://schemas.microsoft.com/office/drawing/2014/main" id="{32DD06F4-B41E-4727-C9F3-8CBE7A84B9F9}"/>
                </a:ext>
              </a:extLst>
            </p:cNvPr>
            <p:cNvSpPr txBox="1"/>
            <p:nvPr/>
          </p:nvSpPr>
          <p:spPr>
            <a:xfrm>
              <a:off x="9509199" y="2521331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2" name="object 17">
              <a:extLst>
                <a:ext uri="{FF2B5EF4-FFF2-40B4-BE49-F238E27FC236}">
                  <a16:creationId xmlns:a16="http://schemas.microsoft.com/office/drawing/2014/main" id="{A6ABF77A-778A-1971-3C8B-A139E43889CF}"/>
                </a:ext>
              </a:extLst>
            </p:cNvPr>
            <p:cNvSpPr txBox="1"/>
            <p:nvPr/>
          </p:nvSpPr>
          <p:spPr>
            <a:xfrm>
              <a:off x="9247432" y="2521331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3" name="object 17">
              <a:extLst>
                <a:ext uri="{FF2B5EF4-FFF2-40B4-BE49-F238E27FC236}">
                  <a16:creationId xmlns:a16="http://schemas.microsoft.com/office/drawing/2014/main" id="{1BE3C928-2F8F-D42B-00C8-04CBF6796EC3}"/>
                </a:ext>
              </a:extLst>
            </p:cNvPr>
            <p:cNvSpPr txBox="1"/>
            <p:nvPr/>
          </p:nvSpPr>
          <p:spPr>
            <a:xfrm>
              <a:off x="8508922" y="2521331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4" name="object 17">
              <a:extLst>
                <a:ext uri="{FF2B5EF4-FFF2-40B4-BE49-F238E27FC236}">
                  <a16:creationId xmlns:a16="http://schemas.microsoft.com/office/drawing/2014/main" id="{B75BFF84-59C3-CBE0-1936-D15CF2D0CD8A}"/>
                </a:ext>
              </a:extLst>
            </p:cNvPr>
            <p:cNvSpPr txBox="1"/>
            <p:nvPr/>
          </p:nvSpPr>
          <p:spPr>
            <a:xfrm>
              <a:off x="8436937" y="2521331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5" name="object 17">
              <a:extLst>
                <a:ext uri="{FF2B5EF4-FFF2-40B4-BE49-F238E27FC236}">
                  <a16:creationId xmlns:a16="http://schemas.microsoft.com/office/drawing/2014/main" id="{CC1CF7B5-1053-51BD-F45D-99B91C0C7B14}"/>
                </a:ext>
              </a:extLst>
            </p:cNvPr>
            <p:cNvSpPr txBox="1"/>
            <p:nvPr/>
          </p:nvSpPr>
          <p:spPr>
            <a:xfrm>
              <a:off x="8341930" y="2521331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6" name="object 17">
              <a:extLst>
                <a:ext uri="{FF2B5EF4-FFF2-40B4-BE49-F238E27FC236}">
                  <a16:creationId xmlns:a16="http://schemas.microsoft.com/office/drawing/2014/main" id="{6123F809-7091-6B14-E427-57DEA036E311}"/>
                </a:ext>
              </a:extLst>
            </p:cNvPr>
            <p:cNvSpPr txBox="1"/>
            <p:nvPr/>
          </p:nvSpPr>
          <p:spPr>
            <a:xfrm>
              <a:off x="8296781" y="2521331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7" name="object 17">
              <a:extLst>
                <a:ext uri="{FF2B5EF4-FFF2-40B4-BE49-F238E27FC236}">
                  <a16:creationId xmlns:a16="http://schemas.microsoft.com/office/drawing/2014/main" id="{A3451C12-8214-0355-CC3F-7CEACE801D82}"/>
                </a:ext>
              </a:extLst>
            </p:cNvPr>
            <p:cNvSpPr txBox="1"/>
            <p:nvPr/>
          </p:nvSpPr>
          <p:spPr>
            <a:xfrm>
              <a:off x="8248011" y="2519117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8" name="object 17">
              <a:extLst>
                <a:ext uri="{FF2B5EF4-FFF2-40B4-BE49-F238E27FC236}">
                  <a16:creationId xmlns:a16="http://schemas.microsoft.com/office/drawing/2014/main" id="{C02DE5DF-FE7F-F730-9155-5702AB7ACF72}"/>
                </a:ext>
              </a:extLst>
            </p:cNvPr>
            <p:cNvSpPr txBox="1"/>
            <p:nvPr/>
          </p:nvSpPr>
          <p:spPr>
            <a:xfrm>
              <a:off x="7606552" y="237937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19" name="object 17">
              <a:extLst>
                <a:ext uri="{FF2B5EF4-FFF2-40B4-BE49-F238E27FC236}">
                  <a16:creationId xmlns:a16="http://schemas.microsoft.com/office/drawing/2014/main" id="{7311693B-1E7B-E41F-38FE-EC77DA9C7FF8}"/>
                </a:ext>
              </a:extLst>
            </p:cNvPr>
            <p:cNvSpPr txBox="1"/>
            <p:nvPr/>
          </p:nvSpPr>
          <p:spPr>
            <a:xfrm>
              <a:off x="8119776" y="237937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0" name="object 17">
              <a:extLst>
                <a:ext uri="{FF2B5EF4-FFF2-40B4-BE49-F238E27FC236}">
                  <a16:creationId xmlns:a16="http://schemas.microsoft.com/office/drawing/2014/main" id="{A79E1CF7-D1F6-B5D0-006A-A170F46EF492}"/>
                </a:ext>
              </a:extLst>
            </p:cNvPr>
            <p:cNvSpPr txBox="1"/>
            <p:nvPr/>
          </p:nvSpPr>
          <p:spPr>
            <a:xfrm>
              <a:off x="8162682" y="237937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1" name="object 17">
              <a:extLst>
                <a:ext uri="{FF2B5EF4-FFF2-40B4-BE49-F238E27FC236}">
                  <a16:creationId xmlns:a16="http://schemas.microsoft.com/office/drawing/2014/main" id="{2F61F7F9-1B26-EA06-E3B7-5320990B0A7A}"/>
                </a:ext>
              </a:extLst>
            </p:cNvPr>
            <p:cNvSpPr txBox="1"/>
            <p:nvPr/>
          </p:nvSpPr>
          <p:spPr>
            <a:xfrm>
              <a:off x="8125906" y="237937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2" name="object 17">
              <a:extLst>
                <a:ext uri="{FF2B5EF4-FFF2-40B4-BE49-F238E27FC236}">
                  <a16:creationId xmlns:a16="http://schemas.microsoft.com/office/drawing/2014/main" id="{ABF15CDD-076C-0AD8-C11D-89D135B7DF88}"/>
                </a:ext>
              </a:extLst>
            </p:cNvPr>
            <p:cNvSpPr txBox="1"/>
            <p:nvPr/>
          </p:nvSpPr>
          <p:spPr>
            <a:xfrm>
              <a:off x="8155768" y="237937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3" name="object 17">
              <a:extLst>
                <a:ext uri="{FF2B5EF4-FFF2-40B4-BE49-F238E27FC236}">
                  <a16:creationId xmlns:a16="http://schemas.microsoft.com/office/drawing/2014/main" id="{3A665624-AD29-7D39-D5AC-B5CE631BC73C}"/>
                </a:ext>
              </a:extLst>
            </p:cNvPr>
            <p:cNvSpPr txBox="1"/>
            <p:nvPr/>
          </p:nvSpPr>
          <p:spPr>
            <a:xfrm>
              <a:off x="7449879" y="237937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4" name="object 17">
              <a:extLst>
                <a:ext uri="{FF2B5EF4-FFF2-40B4-BE49-F238E27FC236}">
                  <a16:creationId xmlns:a16="http://schemas.microsoft.com/office/drawing/2014/main" id="{504838D3-0EE3-2841-6D4B-02A107998AE3}"/>
                </a:ext>
              </a:extLst>
            </p:cNvPr>
            <p:cNvSpPr txBox="1"/>
            <p:nvPr/>
          </p:nvSpPr>
          <p:spPr>
            <a:xfrm>
              <a:off x="7356185" y="237937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5" name="object 17">
              <a:extLst>
                <a:ext uri="{FF2B5EF4-FFF2-40B4-BE49-F238E27FC236}">
                  <a16:creationId xmlns:a16="http://schemas.microsoft.com/office/drawing/2014/main" id="{D85386B9-57B3-2921-7EED-1649DD2D70E5}"/>
                </a:ext>
              </a:extLst>
            </p:cNvPr>
            <p:cNvSpPr txBox="1"/>
            <p:nvPr/>
          </p:nvSpPr>
          <p:spPr>
            <a:xfrm>
              <a:off x="7398849" y="237937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6" name="object 17">
              <a:extLst>
                <a:ext uri="{FF2B5EF4-FFF2-40B4-BE49-F238E27FC236}">
                  <a16:creationId xmlns:a16="http://schemas.microsoft.com/office/drawing/2014/main" id="{EC73B3EB-F6AA-BBE9-50B5-CF3090C2F797}"/>
                </a:ext>
              </a:extLst>
            </p:cNvPr>
            <p:cNvSpPr txBox="1"/>
            <p:nvPr/>
          </p:nvSpPr>
          <p:spPr>
            <a:xfrm>
              <a:off x="7024298" y="237937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7" name="object 17">
              <a:extLst>
                <a:ext uri="{FF2B5EF4-FFF2-40B4-BE49-F238E27FC236}">
                  <a16:creationId xmlns:a16="http://schemas.microsoft.com/office/drawing/2014/main" id="{1904D573-0B23-47DC-DEE8-DD98DECA780A}"/>
                </a:ext>
              </a:extLst>
            </p:cNvPr>
            <p:cNvSpPr txBox="1"/>
            <p:nvPr/>
          </p:nvSpPr>
          <p:spPr>
            <a:xfrm>
              <a:off x="6962202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8" name="object 17">
              <a:extLst>
                <a:ext uri="{FF2B5EF4-FFF2-40B4-BE49-F238E27FC236}">
                  <a16:creationId xmlns:a16="http://schemas.microsoft.com/office/drawing/2014/main" id="{FFE79F57-3F8F-659B-9002-B61B44E9CA9D}"/>
                </a:ext>
              </a:extLst>
            </p:cNvPr>
            <p:cNvSpPr txBox="1"/>
            <p:nvPr/>
          </p:nvSpPr>
          <p:spPr>
            <a:xfrm>
              <a:off x="6935320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29" name="object 17">
              <a:extLst>
                <a:ext uri="{FF2B5EF4-FFF2-40B4-BE49-F238E27FC236}">
                  <a16:creationId xmlns:a16="http://schemas.microsoft.com/office/drawing/2014/main" id="{ADAA6F18-68FD-5131-F882-4C05C95C3F8B}"/>
                </a:ext>
              </a:extLst>
            </p:cNvPr>
            <p:cNvSpPr txBox="1"/>
            <p:nvPr/>
          </p:nvSpPr>
          <p:spPr>
            <a:xfrm>
              <a:off x="6742014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0" name="object 17">
              <a:extLst>
                <a:ext uri="{FF2B5EF4-FFF2-40B4-BE49-F238E27FC236}">
                  <a16:creationId xmlns:a16="http://schemas.microsoft.com/office/drawing/2014/main" id="{915D1EEC-6149-878C-BC4E-8F2B2A5AB868}"/>
                </a:ext>
              </a:extLst>
            </p:cNvPr>
            <p:cNvSpPr txBox="1"/>
            <p:nvPr/>
          </p:nvSpPr>
          <p:spPr>
            <a:xfrm>
              <a:off x="6558314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1" name="object 17">
              <a:extLst>
                <a:ext uri="{FF2B5EF4-FFF2-40B4-BE49-F238E27FC236}">
                  <a16:creationId xmlns:a16="http://schemas.microsoft.com/office/drawing/2014/main" id="{9138CC1A-3358-EAF0-DCEC-27225B0EBF04}"/>
                </a:ext>
              </a:extLst>
            </p:cNvPr>
            <p:cNvSpPr txBox="1"/>
            <p:nvPr/>
          </p:nvSpPr>
          <p:spPr>
            <a:xfrm>
              <a:off x="6396376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2" name="object 17">
              <a:extLst>
                <a:ext uri="{FF2B5EF4-FFF2-40B4-BE49-F238E27FC236}">
                  <a16:creationId xmlns:a16="http://schemas.microsoft.com/office/drawing/2014/main" id="{0BA96408-DFB3-E76E-E144-9E2F83D1B74A}"/>
                </a:ext>
              </a:extLst>
            </p:cNvPr>
            <p:cNvSpPr txBox="1"/>
            <p:nvPr/>
          </p:nvSpPr>
          <p:spPr>
            <a:xfrm>
              <a:off x="6906333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3" name="object 17">
              <a:extLst>
                <a:ext uri="{FF2B5EF4-FFF2-40B4-BE49-F238E27FC236}">
                  <a16:creationId xmlns:a16="http://schemas.microsoft.com/office/drawing/2014/main" id="{0091D451-42CF-AA37-5F6C-14DBAFDBD01B}"/>
                </a:ext>
              </a:extLst>
            </p:cNvPr>
            <p:cNvSpPr txBox="1"/>
            <p:nvPr/>
          </p:nvSpPr>
          <p:spPr>
            <a:xfrm>
              <a:off x="6841233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4" name="object 17">
              <a:extLst>
                <a:ext uri="{FF2B5EF4-FFF2-40B4-BE49-F238E27FC236}">
                  <a16:creationId xmlns:a16="http://schemas.microsoft.com/office/drawing/2014/main" id="{6258AF7D-CF14-79DC-4887-01EF70DB7D26}"/>
                </a:ext>
              </a:extLst>
            </p:cNvPr>
            <p:cNvSpPr txBox="1"/>
            <p:nvPr/>
          </p:nvSpPr>
          <p:spPr>
            <a:xfrm>
              <a:off x="6858355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5" name="object 17">
              <a:extLst>
                <a:ext uri="{FF2B5EF4-FFF2-40B4-BE49-F238E27FC236}">
                  <a16:creationId xmlns:a16="http://schemas.microsoft.com/office/drawing/2014/main" id="{A6F21ACB-22A2-2520-6A28-21E8BD9D7934}"/>
                </a:ext>
              </a:extLst>
            </p:cNvPr>
            <p:cNvSpPr txBox="1"/>
            <p:nvPr/>
          </p:nvSpPr>
          <p:spPr>
            <a:xfrm>
              <a:off x="6883897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6" name="object 17">
              <a:extLst>
                <a:ext uri="{FF2B5EF4-FFF2-40B4-BE49-F238E27FC236}">
                  <a16:creationId xmlns:a16="http://schemas.microsoft.com/office/drawing/2014/main" id="{765031E4-0F9D-216D-1A10-36B43BC2C0A4}"/>
                </a:ext>
              </a:extLst>
            </p:cNvPr>
            <p:cNvSpPr txBox="1"/>
            <p:nvPr/>
          </p:nvSpPr>
          <p:spPr>
            <a:xfrm>
              <a:off x="6349001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7" name="object 17">
              <a:extLst>
                <a:ext uri="{FF2B5EF4-FFF2-40B4-BE49-F238E27FC236}">
                  <a16:creationId xmlns:a16="http://schemas.microsoft.com/office/drawing/2014/main" id="{A811C5EB-2648-A2CA-5B12-DE6F956A7E8B}"/>
                </a:ext>
              </a:extLst>
            </p:cNvPr>
            <p:cNvSpPr txBox="1"/>
            <p:nvPr/>
          </p:nvSpPr>
          <p:spPr>
            <a:xfrm>
              <a:off x="6325681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8" name="object 17">
              <a:extLst>
                <a:ext uri="{FF2B5EF4-FFF2-40B4-BE49-F238E27FC236}">
                  <a16:creationId xmlns:a16="http://schemas.microsoft.com/office/drawing/2014/main" id="{ADAA338D-3861-B263-386A-18167878CEA9}"/>
                </a:ext>
              </a:extLst>
            </p:cNvPr>
            <p:cNvSpPr txBox="1"/>
            <p:nvPr/>
          </p:nvSpPr>
          <p:spPr>
            <a:xfrm>
              <a:off x="6296960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39" name="object 17">
              <a:extLst>
                <a:ext uri="{FF2B5EF4-FFF2-40B4-BE49-F238E27FC236}">
                  <a16:creationId xmlns:a16="http://schemas.microsoft.com/office/drawing/2014/main" id="{B79BF75D-205D-DE50-A43D-962F4AFA4C05}"/>
                </a:ext>
              </a:extLst>
            </p:cNvPr>
            <p:cNvSpPr txBox="1"/>
            <p:nvPr/>
          </p:nvSpPr>
          <p:spPr>
            <a:xfrm>
              <a:off x="6260498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0" name="object 17">
              <a:extLst>
                <a:ext uri="{FF2B5EF4-FFF2-40B4-BE49-F238E27FC236}">
                  <a16:creationId xmlns:a16="http://schemas.microsoft.com/office/drawing/2014/main" id="{6C9469AE-A0EC-56FE-78B1-F83775A30D7E}"/>
                </a:ext>
              </a:extLst>
            </p:cNvPr>
            <p:cNvSpPr txBox="1"/>
            <p:nvPr/>
          </p:nvSpPr>
          <p:spPr>
            <a:xfrm>
              <a:off x="6215348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1" name="object 17">
              <a:extLst>
                <a:ext uri="{FF2B5EF4-FFF2-40B4-BE49-F238E27FC236}">
                  <a16:creationId xmlns:a16="http://schemas.microsoft.com/office/drawing/2014/main" id="{927C2D82-A0E8-238E-D8B4-13DF0F6CEF86}"/>
                </a:ext>
              </a:extLst>
            </p:cNvPr>
            <p:cNvSpPr txBox="1"/>
            <p:nvPr/>
          </p:nvSpPr>
          <p:spPr>
            <a:xfrm>
              <a:off x="6288978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2" name="object 17">
              <a:extLst>
                <a:ext uri="{FF2B5EF4-FFF2-40B4-BE49-F238E27FC236}">
                  <a16:creationId xmlns:a16="http://schemas.microsoft.com/office/drawing/2014/main" id="{8C6CB972-39D1-CD44-816B-546FAE605D38}"/>
                </a:ext>
              </a:extLst>
            </p:cNvPr>
            <p:cNvSpPr txBox="1"/>
            <p:nvPr/>
          </p:nvSpPr>
          <p:spPr>
            <a:xfrm>
              <a:off x="6317433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3" name="object 17">
              <a:extLst>
                <a:ext uri="{FF2B5EF4-FFF2-40B4-BE49-F238E27FC236}">
                  <a16:creationId xmlns:a16="http://schemas.microsoft.com/office/drawing/2014/main" id="{393D1D8A-CED0-35A4-42AC-C4E3ED919940}"/>
                </a:ext>
              </a:extLst>
            </p:cNvPr>
            <p:cNvSpPr txBox="1"/>
            <p:nvPr/>
          </p:nvSpPr>
          <p:spPr>
            <a:xfrm>
              <a:off x="5823072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4" name="object 17">
              <a:extLst>
                <a:ext uri="{FF2B5EF4-FFF2-40B4-BE49-F238E27FC236}">
                  <a16:creationId xmlns:a16="http://schemas.microsoft.com/office/drawing/2014/main" id="{89C3C877-496D-F749-D52F-4AD6E9AAB43A}"/>
                </a:ext>
              </a:extLst>
            </p:cNvPr>
            <p:cNvSpPr txBox="1"/>
            <p:nvPr/>
          </p:nvSpPr>
          <p:spPr>
            <a:xfrm>
              <a:off x="5796950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5" name="object 17">
              <a:extLst>
                <a:ext uri="{FF2B5EF4-FFF2-40B4-BE49-F238E27FC236}">
                  <a16:creationId xmlns:a16="http://schemas.microsoft.com/office/drawing/2014/main" id="{2B997D99-893C-790B-165D-27584EB0175B}"/>
                </a:ext>
              </a:extLst>
            </p:cNvPr>
            <p:cNvSpPr txBox="1"/>
            <p:nvPr/>
          </p:nvSpPr>
          <p:spPr>
            <a:xfrm>
              <a:off x="5777887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6" name="object 17">
              <a:extLst>
                <a:ext uri="{FF2B5EF4-FFF2-40B4-BE49-F238E27FC236}">
                  <a16:creationId xmlns:a16="http://schemas.microsoft.com/office/drawing/2014/main" id="{63B7849F-85E3-F230-0898-26C61FA5173A}"/>
                </a:ext>
              </a:extLst>
            </p:cNvPr>
            <p:cNvSpPr txBox="1"/>
            <p:nvPr/>
          </p:nvSpPr>
          <p:spPr>
            <a:xfrm>
              <a:off x="5694786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7" name="object 17">
              <a:extLst>
                <a:ext uri="{FF2B5EF4-FFF2-40B4-BE49-F238E27FC236}">
                  <a16:creationId xmlns:a16="http://schemas.microsoft.com/office/drawing/2014/main" id="{88E66F3A-9383-FFAA-0037-BE30B0F55AAB}"/>
                </a:ext>
              </a:extLst>
            </p:cNvPr>
            <p:cNvSpPr txBox="1"/>
            <p:nvPr/>
          </p:nvSpPr>
          <p:spPr>
            <a:xfrm>
              <a:off x="5663474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8" name="object 17">
              <a:extLst>
                <a:ext uri="{FF2B5EF4-FFF2-40B4-BE49-F238E27FC236}">
                  <a16:creationId xmlns:a16="http://schemas.microsoft.com/office/drawing/2014/main" id="{E3689F2A-0772-D124-6E5E-8F95FBD8D2CF}"/>
                </a:ext>
              </a:extLst>
            </p:cNvPr>
            <p:cNvSpPr txBox="1"/>
            <p:nvPr/>
          </p:nvSpPr>
          <p:spPr>
            <a:xfrm>
              <a:off x="5729701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49" name="object 17">
              <a:extLst>
                <a:ext uri="{FF2B5EF4-FFF2-40B4-BE49-F238E27FC236}">
                  <a16:creationId xmlns:a16="http://schemas.microsoft.com/office/drawing/2014/main" id="{65B0197C-D8AD-2D17-EA0E-3A3FD710884A}"/>
                </a:ext>
              </a:extLst>
            </p:cNvPr>
            <p:cNvSpPr txBox="1"/>
            <p:nvPr/>
          </p:nvSpPr>
          <p:spPr>
            <a:xfrm>
              <a:off x="5745296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0" name="object 17">
              <a:extLst>
                <a:ext uri="{FF2B5EF4-FFF2-40B4-BE49-F238E27FC236}">
                  <a16:creationId xmlns:a16="http://schemas.microsoft.com/office/drawing/2014/main" id="{9E18032A-BC92-2E54-181E-B126528581CA}"/>
                </a:ext>
              </a:extLst>
            </p:cNvPr>
            <p:cNvSpPr txBox="1"/>
            <p:nvPr/>
          </p:nvSpPr>
          <p:spPr>
            <a:xfrm>
              <a:off x="5750162" y="2297638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1" name="object 17">
              <a:extLst>
                <a:ext uri="{FF2B5EF4-FFF2-40B4-BE49-F238E27FC236}">
                  <a16:creationId xmlns:a16="http://schemas.microsoft.com/office/drawing/2014/main" id="{3D28FF33-ABF1-F64F-9540-6C6A1A5804DD}"/>
                </a:ext>
              </a:extLst>
            </p:cNvPr>
            <p:cNvSpPr txBox="1"/>
            <p:nvPr/>
          </p:nvSpPr>
          <p:spPr>
            <a:xfrm>
              <a:off x="5413917" y="2259541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2" name="object 17">
              <a:extLst>
                <a:ext uri="{FF2B5EF4-FFF2-40B4-BE49-F238E27FC236}">
                  <a16:creationId xmlns:a16="http://schemas.microsoft.com/office/drawing/2014/main" id="{A282A770-0765-62BA-20BD-636BA61AA47C}"/>
                </a:ext>
              </a:extLst>
            </p:cNvPr>
            <p:cNvSpPr txBox="1"/>
            <p:nvPr/>
          </p:nvSpPr>
          <p:spPr>
            <a:xfrm>
              <a:off x="5216008" y="2223824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3" name="object 17">
              <a:extLst>
                <a:ext uri="{FF2B5EF4-FFF2-40B4-BE49-F238E27FC236}">
                  <a16:creationId xmlns:a16="http://schemas.microsoft.com/office/drawing/2014/main" id="{980A2007-3FC8-24D4-E98B-C49FD2B698EF}"/>
                </a:ext>
              </a:extLst>
            </p:cNvPr>
            <p:cNvSpPr txBox="1"/>
            <p:nvPr/>
          </p:nvSpPr>
          <p:spPr>
            <a:xfrm>
              <a:off x="3525288" y="1995295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4" name="object 17">
              <a:extLst>
                <a:ext uri="{FF2B5EF4-FFF2-40B4-BE49-F238E27FC236}">
                  <a16:creationId xmlns:a16="http://schemas.microsoft.com/office/drawing/2014/main" id="{E71C9C27-D217-BD3E-6C59-86224039EACE}"/>
                </a:ext>
              </a:extLst>
            </p:cNvPr>
            <p:cNvSpPr txBox="1"/>
            <p:nvPr/>
          </p:nvSpPr>
          <p:spPr>
            <a:xfrm>
              <a:off x="4577910" y="2160937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5" name="object 17">
              <a:extLst>
                <a:ext uri="{FF2B5EF4-FFF2-40B4-BE49-F238E27FC236}">
                  <a16:creationId xmlns:a16="http://schemas.microsoft.com/office/drawing/2014/main" id="{85D2B136-D3EE-3811-D130-AE2C8C3E17B5}"/>
                </a:ext>
              </a:extLst>
            </p:cNvPr>
            <p:cNvSpPr txBox="1"/>
            <p:nvPr/>
          </p:nvSpPr>
          <p:spPr>
            <a:xfrm>
              <a:off x="4648081" y="2160937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6" name="object 17">
              <a:extLst>
                <a:ext uri="{FF2B5EF4-FFF2-40B4-BE49-F238E27FC236}">
                  <a16:creationId xmlns:a16="http://schemas.microsoft.com/office/drawing/2014/main" id="{FA0B4CE8-27CB-2455-F6CD-E41D17D09C97}"/>
                </a:ext>
              </a:extLst>
            </p:cNvPr>
            <p:cNvSpPr txBox="1"/>
            <p:nvPr/>
          </p:nvSpPr>
          <p:spPr>
            <a:xfrm>
              <a:off x="4659291" y="2160937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7" name="object 17">
              <a:extLst>
                <a:ext uri="{FF2B5EF4-FFF2-40B4-BE49-F238E27FC236}">
                  <a16:creationId xmlns:a16="http://schemas.microsoft.com/office/drawing/2014/main" id="{0B4FBA9A-E8A5-0182-7A2B-44028657A865}"/>
                </a:ext>
              </a:extLst>
            </p:cNvPr>
            <p:cNvSpPr txBox="1"/>
            <p:nvPr/>
          </p:nvSpPr>
          <p:spPr>
            <a:xfrm>
              <a:off x="5064609" y="2189512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8" name="object 17">
              <a:extLst>
                <a:ext uri="{FF2B5EF4-FFF2-40B4-BE49-F238E27FC236}">
                  <a16:creationId xmlns:a16="http://schemas.microsoft.com/office/drawing/2014/main" id="{46EBD896-D1C6-9FDB-119C-23975250123B}"/>
                </a:ext>
              </a:extLst>
            </p:cNvPr>
            <p:cNvSpPr txBox="1"/>
            <p:nvPr/>
          </p:nvSpPr>
          <p:spPr>
            <a:xfrm>
              <a:off x="5109567" y="2191894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59" name="object 17">
              <a:extLst>
                <a:ext uri="{FF2B5EF4-FFF2-40B4-BE49-F238E27FC236}">
                  <a16:creationId xmlns:a16="http://schemas.microsoft.com/office/drawing/2014/main" id="{E22C7D15-A07D-8D6C-5411-9884D11B0E33}"/>
                </a:ext>
              </a:extLst>
            </p:cNvPr>
            <p:cNvSpPr txBox="1"/>
            <p:nvPr/>
          </p:nvSpPr>
          <p:spPr>
            <a:xfrm>
              <a:off x="5123631" y="2191889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60" name="object 17">
              <a:extLst>
                <a:ext uri="{FF2B5EF4-FFF2-40B4-BE49-F238E27FC236}">
                  <a16:creationId xmlns:a16="http://schemas.microsoft.com/office/drawing/2014/main" id="{2401AAA4-2168-22AB-546F-F111E193B491}"/>
                </a:ext>
              </a:extLst>
            </p:cNvPr>
            <p:cNvSpPr txBox="1"/>
            <p:nvPr/>
          </p:nvSpPr>
          <p:spPr>
            <a:xfrm>
              <a:off x="5171383" y="2189509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61" name="object 17">
              <a:extLst>
                <a:ext uri="{FF2B5EF4-FFF2-40B4-BE49-F238E27FC236}">
                  <a16:creationId xmlns:a16="http://schemas.microsoft.com/office/drawing/2014/main" id="{DA0846B4-6B9E-B3A7-E45C-DDBFBBC06195}"/>
                </a:ext>
              </a:extLst>
            </p:cNvPr>
            <p:cNvSpPr txBox="1"/>
            <p:nvPr/>
          </p:nvSpPr>
          <p:spPr>
            <a:xfrm>
              <a:off x="5186716" y="2189509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62" name="object 17">
              <a:extLst>
                <a:ext uri="{FF2B5EF4-FFF2-40B4-BE49-F238E27FC236}">
                  <a16:creationId xmlns:a16="http://schemas.microsoft.com/office/drawing/2014/main" id="{F9C85A48-F918-16B5-56A0-451164AB4223}"/>
                </a:ext>
              </a:extLst>
            </p:cNvPr>
            <p:cNvSpPr txBox="1"/>
            <p:nvPr/>
          </p:nvSpPr>
          <p:spPr>
            <a:xfrm>
              <a:off x="5163828" y="2191889"/>
              <a:ext cx="136341" cy="228268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46075" algn="l"/>
                </a:tabLst>
                <a:defRPr/>
              </a:pPr>
              <a:r>
                <a:rPr kumimoji="0" lang="en-US" sz="1400" b="0" i="0" u="none" strike="noStrike" kern="0" cap="none" spc="-5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</p:grpSp>
      <p:grpSp>
        <p:nvGrpSpPr>
          <p:cNvPr id="365" name="Group 364">
            <a:extLst>
              <a:ext uri="{FF2B5EF4-FFF2-40B4-BE49-F238E27FC236}">
                <a16:creationId xmlns:a16="http://schemas.microsoft.com/office/drawing/2014/main" id="{9D04F579-BC0C-861E-2DF7-80B18B545AF6}"/>
              </a:ext>
            </a:extLst>
          </p:cNvPr>
          <p:cNvGrpSpPr/>
          <p:nvPr/>
        </p:nvGrpSpPr>
        <p:grpSpPr>
          <a:xfrm>
            <a:off x="347590" y="4831386"/>
            <a:ext cx="10005979" cy="495687"/>
            <a:chOff x="469985" y="5112133"/>
            <a:chExt cx="9835136" cy="669831"/>
          </a:xfrm>
        </p:grpSpPr>
        <p:sp>
          <p:nvSpPr>
            <p:cNvPr id="366" name="object 41">
              <a:extLst>
                <a:ext uri="{FF2B5EF4-FFF2-40B4-BE49-F238E27FC236}">
                  <a16:creationId xmlns:a16="http://schemas.microsoft.com/office/drawing/2014/main" id="{315615A1-1093-2503-D699-EC741AB9D6FC}"/>
                </a:ext>
              </a:extLst>
            </p:cNvPr>
            <p:cNvSpPr txBox="1"/>
            <p:nvPr/>
          </p:nvSpPr>
          <p:spPr>
            <a:xfrm>
              <a:off x="2332439" y="5455191"/>
              <a:ext cx="30099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107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67" name="object 50">
              <a:extLst>
                <a:ext uri="{FF2B5EF4-FFF2-40B4-BE49-F238E27FC236}">
                  <a16:creationId xmlns:a16="http://schemas.microsoft.com/office/drawing/2014/main" id="{FFE0F822-7C8E-07C0-936C-DCF40FFEDE09}"/>
                </a:ext>
              </a:extLst>
            </p:cNvPr>
            <p:cNvSpPr txBox="1"/>
            <p:nvPr/>
          </p:nvSpPr>
          <p:spPr>
            <a:xfrm>
              <a:off x="2378413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50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68" name="object 42">
              <a:extLst>
                <a:ext uri="{FF2B5EF4-FFF2-40B4-BE49-F238E27FC236}">
                  <a16:creationId xmlns:a16="http://schemas.microsoft.com/office/drawing/2014/main" id="{50CAC9EE-06FF-E3D1-9D6D-902E13E9FE56}"/>
                </a:ext>
              </a:extLst>
            </p:cNvPr>
            <p:cNvSpPr txBox="1"/>
            <p:nvPr/>
          </p:nvSpPr>
          <p:spPr>
            <a:xfrm>
              <a:off x="3337005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92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69" name="object 51">
              <a:extLst>
                <a:ext uri="{FF2B5EF4-FFF2-40B4-BE49-F238E27FC236}">
                  <a16:creationId xmlns:a16="http://schemas.microsoft.com/office/drawing/2014/main" id="{5B7229DD-0DE4-40E3-D1E0-FBF1D889CDF7}"/>
                </a:ext>
              </a:extLst>
            </p:cNvPr>
            <p:cNvSpPr txBox="1"/>
            <p:nvPr/>
          </p:nvSpPr>
          <p:spPr>
            <a:xfrm>
              <a:off x="3337005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42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0" name="object 43">
              <a:extLst>
                <a:ext uri="{FF2B5EF4-FFF2-40B4-BE49-F238E27FC236}">
                  <a16:creationId xmlns:a16="http://schemas.microsoft.com/office/drawing/2014/main" id="{C3D71351-E082-413C-F79A-0D84638C3369}"/>
                </a:ext>
              </a:extLst>
            </p:cNvPr>
            <p:cNvSpPr txBox="1"/>
            <p:nvPr/>
          </p:nvSpPr>
          <p:spPr>
            <a:xfrm>
              <a:off x="4277301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85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1" name="object 52">
              <a:extLst>
                <a:ext uri="{FF2B5EF4-FFF2-40B4-BE49-F238E27FC236}">
                  <a16:creationId xmlns:a16="http://schemas.microsoft.com/office/drawing/2014/main" id="{2E0BC164-8FA3-1354-C80F-87A46EC5B400}"/>
                </a:ext>
              </a:extLst>
            </p:cNvPr>
            <p:cNvSpPr txBox="1"/>
            <p:nvPr/>
          </p:nvSpPr>
          <p:spPr>
            <a:xfrm>
              <a:off x="4277301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40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2" name="object 44">
              <a:extLst>
                <a:ext uri="{FF2B5EF4-FFF2-40B4-BE49-F238E27FC236}">
                  <a16:creationId xmlns:a16="http://schemas.microsoft.com/office/drawing/2014/main" id="{9CC4D649-DB0D-3E48-E9DB-A58152630CCE}"/>
                </a:ext>
              </a:extLst>
            </p:cNvPr>
            <p:cNvSpPr txBox="1"/>
            <p:nvPr/>
          </p:nvSpPr>
          <p:spPr>
            <a:xfrm>
              <a:off x="5224966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73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3" name="object 53">
              <a:extLst>
                <a:ext uri="{FF2B5EF4-FFF2-40B4-BE49-F238E27FC236}">
                  <a16:creationId xmlns:a16="http://schemas.microsoft.com/office/drawing/2014/main" id="{4A58E947-01B4-579C-77D0-58EEEA42130C}"/>
                </a:ext>
              </a:extLst>
            </p:cNvPr>
            <p:cNvSpPr txBox="1"/>
            <p:nvPr/>
          </p:nvSpPr>
          <p:spPr>
            <a:xfrm>
              <a:off x="5224966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37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4" name="object 45">
              <a:extLst>
                <a:ext uri="{FF2B5EF4-FFF2-40B4-BE49-F238E27FC236}">
                  <a16:creationId xmlns:a16="http://schemas.microsoft.com/office/drawing/2014/main" id="{C535D9C0-A9BB-34FF-C132-F04997F060D8}"/>
                </a:ext>
              </a:extLst>
            </p:cNvPr>
            <p:cNvSpPr txBox="1"/>
            <p:nvPr/>
          </p:nvSpPr>
          <p:spPr>
            <a:xfrm>
              <a:off x="6165843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49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5" name="object 54">
              <a:extLst>
                <a:ext uri="{FF2B5EF4-FFF2-40B4-BE49-F238E27FC236}">
                  <a16:creationId xmlns:a16="http://schemas.microsoft.com/office/drawing/2014/main" id="{34D4E2BC-B45C-C159-9291-962CCC75FAF8}"/>
                </a:ext>
              </a:extLst>
            </p:cNvPr>
            <p:cNvSpPr txBox="1"/>
            <p:nvPr/>
          </p:nvSpPr>
          <p:spPr>
            <a:xfrm>
              <a:off x="6165843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28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6" name="object 46">
              <a:extLst>
                <a:ext uri="{FF2B5EF4-FFF2-40B4-BE49-F238E27FC236}">
                  <a16:creationId xmlns:a16="http://schemas.microsoft.com/office/drawing/2014/main" id="{E1260557-B475-5DBC-86A0-56B121E7EA6F}"/>
                </a:ext>
              </a:extLst>
            </p:cNvPr>
            <p:cNvSpPr txBox="1"/>
            <p:nvPr/>
          </p:nvSpPr>
          <p:spPr>
            <a:xfrm>
              <a:off x="7119634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24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7" name="object 55">
              <a:extLst>
                <a:ext uri="{FF2B5EF4-FFF2-40B4-BE49-F238E27FC236}">
                  <a16:creationId xmlns:a16="http://schemas.microsoft.com/office/drawing/2014/main" id="{35913383-00A5-7915-49E7-0EB590519090}"/>
                </a:ext>
              </a:extLst>
            </p:cNvPr>
            <p:cNvSpPr txBox="1"/>
            <p:nvPr/>
          </p:nvSpPr>
          <p:spPr>
            <a:xfrm>
              <a:off x="7119634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13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8" name="object 47">
              <a:extLst>
                <a:ext uri="{FF2B5EF4-FFF2-40B4-BE49-F238E27FC236}">
                  <a16:creationId xmlns:a16="http://schemas.microsoft.com/office/drawing/2014/main" id="{C9A62576-81CA-7823-14E7-4118A1752697}"/>
                </a:ext>
              </a:extLst>
            </p:cNvPr>
            <p:cNvSpPr txBox="1"/>
            <p:nvPr/>
          </p:nvSpPr>
          <p:spPr>
            <a:xfrm>
              <a:off x="8065646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20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79" name="object 56">
              <a:extLst>
                <a:ext uri="{FF2B5EF4-FFF2-40B4-BE49-F238E27FC236}">
                  <a16:creationId xmlns:a16="http://schemas.microsoft.com/office/drawing/2014/main" id="{28D8D978-E2EE-01FD-734C-213383D44EC8}"/>
                </a:ext>
              </a:extLst>
            </p:cNvPr>
            <p:cNvSpPr txBox="1"/>
            <p:nvPr/>
          </p:nvSpPr>
          <p:spPr>
            <a:xfrm>
              <a:off x="8111492" y="563064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6</a:t>
              </a:r>
            </a:p>
          </p:txBody>
        </p:sp>
        <p:sp>
          <p:nvSpPr>
            <p:cNvPr id="380" name="object 48">
              <a:extLst>
                <a:ext uri="{FF2B5EF4-FFF2-40B4-BE49-F238E27FC236}">
                  <a16:creationId xmlns:a16="http://schemas.microsoft.com/office/drawing/2014/main" id="{F4A46941-ED90-7856-81EF-5F72815E6744}"/>
                </a:ext>
              </a:extLst>
            </p:cNvPr>
            <p:cNvSpPr txBox="1"/>
            <p:nvPr/>
          </p:nvSpPr>
          <p:spPr>
            <a:xfrm>
              <a:off x="9052850" y="545519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8</a:t>
              </a:r>
            </a:p>
          </p:txBody>
        </p:sp>
        <p:sp>
          <p:nvSpPr>
            <p:cNvPr id="381" name="object 57">
              <a:extLst>
                <a:ext uri="{FF2B5EF4-FFF2-40B4-BE49-F238E27FC236}">
                  <a16:creationId xmlns:a16="http://schemas.microsoft.com/office/drawing/2014/main" id="{73C77D81-5D72-7E52-86AA-44171D30E660}"/>
                </a:ext>
              </a:extLst>
            </p:cNvPr>
            <p:cNvSpPr txBox="1"/>
            <p:nvPr/>
          </p:nvSpPr>
          <p:spPr>
            <a:xfrm>
              <a:off x="9052850" y="563064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1</a:t>
              </a:r>
            </a:p>
          </p:txBody>
        </p:sp>
        <p:sp>
          <p:nvSpPr>
            <p:cNvPr id="382" name="object 49">
              <a:extLst>
                <a:ext uri="{FF2B5EF4-FFF2-40B4-BE49-F238E27FC236}">
                  <a16:creationId xmlns:a16="http://schemas.microsoft.com/office/drawing/2014/main" id="{39BFFDA6-9B09-A9D0-9403-DEB8CF985C44}"/>
                </a:ext>
              </a:extLst>
            </p:cNvPr>
            <p:cNvSpPr txBox="1"/>
            <p:nvPr/>
          </p:nvSpPr>
          <p:spPr>
            <a:xfrm>
              <a:off x="10007705" y="545519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1</a:t>
              </a:r>
            </a:p>
          </p:txBody>
        </p:sp>
        <p:sp>
          <p:nvSpPr>
            <p:cNvPr id="383" name="object 58">
              <a:extLst>
                <a:ext uri="{FF2B5EF4-FFF2-40B4-BE49-F238E27FC236}">
                  <a16:creationId xmlns:a16="http://schemas.microsoft.com/office/drawing/2014/main" id="{1977BC3A-EAA8-9C89-C5BE-25C1E9ED6265}"/>
                </a:ext>
              </a:extLst>
            </p:cNvPr>
            <p:cNvSpPr txBox="1"/>
            <p:nvPr/>
          </p:nvSpPr>
          <p:spPr>
            <a:xfrm>
              <a:off x="10007705" y="563064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0</a:t>
              </a:r>
            </a:p>
          </p:txBody>
        </p:sp>
        <p:sp>
          <p:nvSpPr>
            <p:cNvPr id="384" name="object 64">
              <a:extLst>
                <a:ext uri="{FF2B5EF4-FFF2-40B4-BE49-F238E27FC236}">
                  <a16:creationId xmlns:a16="http://schemas.microsoft.com/office/drawing/2014/main" id="{0870BF72-2581-2BA1-9F2E-40F5C4ED853F}"/>
                </a:ext>
              </a:extLst>
            </p:cNvPr>
            <p:cNvSpPr txBox="1"/>
            <p:nvPr/>
          </p:nvSpPr>
          <p:spPr>
            <a:xfrm>
              <a:off x="762003" y="5622947"/>
              <a:ext cx="1377025" cy="1513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-1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pembrolizumab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85" name="object 65">
              <a:extLst>
                <a:ext uri="{FF2B5EF4-FFF2-40B4-BE49-F238E27FC236}">
                  <a16:creationId xmlns:a16="http://schemas.microsoft.com/office/drawing/2014/main" id="{D140092F-B34C-721D-3864-2EAC1648EF02}"/>
                </a:ext>
              </a:extLst>
            </p:cNvPr>
            <p:cNvSpPr txBox="1"/>
            <p:nvPr/>
          </p:nvSpPr>
          <p:spPr>
            <a:xfrm>
              <a:off x="469985" y="5281611"/>
              <a:ext cx="1669044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mRNA-4157 (V940)</a:t>
              </a:r>
              <a:r>
                <a:rPr kumimoji="0" lang="en-US" sz="900" b="1" i="0" u="none" strike="noStrike" kern="0" cap="none" spc="-25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 </a:t>
              </a: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+</a:t>
              </a:r>
              <a:r>
                <a:rPr kumimoji="0" lang="en-US" sz="900" b="1" i="0" u="none" strike="noStrike" kern="0" cap="none" spc="-2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 </a:t>
              </a:r>
              <a:r>
                <a:rPr kumimoji="0" lang="en-US" sz="900" b="1" i="0" u="none" strike="noStrike" kern="0" cap="none" spc="-1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pembrolizumab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E31837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endParaRPr>
            </a:p>
          </p:txBody>
        </p:sp>
        <p:sp>
          <p:nvSpPr>
            <p:cNvPr id="386" name="object 65">
              <a:extLst>
                <a:ext uri="{FF2B5EF4-FFF2-40B4-BE49-F238E27FC236}">
                  <a16:creationId xmlns:a16="http://schemas.microsoft.com/office/drawing/2014/main" id="{63172C2C-9151-B244-C85C-ABF67D53F623}"/>
                </a:ext>
              </a:extLst>
            </p:cNvPr>
            <p:cNvSpPr txBox="1"/>
            <p:nvPr/>
          </p:nvSpPr>
          <p:spPr>
            <a:xfrm>
              <a:off x="2425414" y="5112133"/>
              <a:ext cx="7802206" cy="1513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Helvetica"/>
                </a:rPr>
                <a:t>Number at Risk</a:t>
              </a:r>
            </a:p>
          </p:txBody>
        </p:sp>
        <p:cxnSp>
          <p:nvCxnSpPr>
            <p:cNvPr id="387" name="Straight Connector 386">
              <a:extLst>
                <a:ext uri="{FF2B5EF4-FFF2-40B4-BE49-F238E27FC236}">
                  <a16:creationId xmlns:a16="http://schemas.microsoft.com/office/drawing/2014/main" id="{DD12C795-F81B-A30E-F017-15A28FC74A0B}"/>
                </a:ext>
              </a:extLst>
            </p:cNvPr>
            <p:cNvCxnSpPr>
              <a:cxnSpLocks/>
            </p:cNvCxnSpPr>
            <p:nvPr/>
          </p:nvCxnSpPr>
          <p:spPr>
            <a:xfrm>
              <a:off x="2443832" y="5309048"/>
              <a:ext cx="7861289" cy="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388" name="Table 69">
            <a:extLst>
              <a:ext uri="{FF2B5EF4-FFF2-40B4-BE49-F238E27FC236}">
                <a16:creationId xmlns:a16="http://schemas.microsoft.com/office/drawing/2014/main" id="{237013A3-6F9D-7BB5-F7CE-6727CD8551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990361"/>
              </p:ext>
            </p:extLst>
          </p:nvPr>
        </p:nvGraphicFramePr>
        <p:xfrm>
          <a:off x="6357778" y="3245776"/>
          <a:ext cx="3920259" cy="1013919"/>
        </p:xfrm>
        <a:graphic>
          <a:graphicData uri="http://schemas.openxmlformats.org/drawingml/2006/table">
            <a:tbl>
              <a:tblPr firstRow="1" bandRow="1"/>
              <a:tblGrid>
                <a:gridCol w="1471191">
                  <a:extLst>
                    <a:ext uri="{9D8B030D-6E8A-4147-A177-3AD203B41FA5}">
                      <a16:colId xmlns:a16="http://schemas.microsoft.com/office/drawing/2014/main" val="3755775968"/>
                    </a:ext>
                  </a:extLst>
                </a:gridCol>
                <a:gridCol w="1089109">
                  <a:extLst>
                    <a:ext uri="{9D8B030D-6E8A-4147-A177-3AD203B41FA5}">
                      <a16:colId xmlns:a16="http://schemas.microsoft.com/office/drawing/2014/main" val="2248379276"/>
                    </a:ext>
                  </a:extLst>
                </a:gridCol>
                <a:gridCol w="1359959">
                  <a:extLst>
                    <a:ext uri="{9D8B030D-6E8A-4147-A177-3AD203B41FA5}">
                      <a16:colId xmlns:a16="http://schemas.microsoft.com/office/drawing/2014/main" val="3244896206"/>
                    </a:ext>
                  </a:extLst>
                </a:gridCol>
              </a:tblGrid>
              <a:tr h="3231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Events, </a:t>
                      </a:r>
                      <a:br>
                        <a:rPr lang="en-US" sz="1000" b="1" dirty="0">
                          <a:latin typeface="+mn-lt"/>
                        </a:rPr>
                      </a:br>
                      <a:r>
                        <a:rPr lang="en-US" sz="1000" b="1" dirty="0">
                          <a:latin typeface="+mn-lt"/>
                        </a:rPr>
                        <a:t>% (n/N)</a:t>
                      </a:r>
                      <a:endParaRPr lang="en-US" sz="1000" b="1" dirty="0">
                        <a:latin typeface="+mn-lt"/>
                        <a:cs typeface="Helvetica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Hazard Ratio </a:t>
                      </a:r>
                      <a:br>
                        <a:rPr lang="en-US" sz="1000" b="1" dirty="0">
                          <a:latin typeface="+mn-lt"/>
                        </a:rPr>
                      </a:br>
                      <a:r>
                        <a:rPr lang="en-US" sz="1000" b="1" dirty="0">
                          <a:latin typeface="+mn-lt"/>
                        </a:rPr>
                        <a:t>(95% CI)</a:t>
                      </a:r>
                      <a:r>
                        <a:rPr lang="en-US" sz="1000" b="1" baseline="30000" dirty="0">
                          <a:latin typeface="+mn-lt"/>
                        </a:rPr>
                        <a:t>a</a:t>
                      </a:r>
                      <a:endParaRPr lang="en-US" sz="1000" b="1" dirty="0">
                        <a:latin typeface="+mn-lt"/>
                        <a:cs typeface="Helvetica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6245364"/>
                  </a:ext>
                </a:extLst>
              </a:tr>
              <a:tr h="3231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rgbClr val="E31837"/>
                          </a:solidFill>
                          <a:latin typeface="+mn-lt"/>
                        </a:rPr>
                        <a:t>mRNA-4157 (V940)</a:t>
                      </a:r>
                      <a:r>
                        <a:rPr lang="en-US" sz="1000" b="1" spc="-25" dirty="0">
                          <a:solidFill>
                            <a:srgbClr val="E31837"/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dirty="0">
                          <a:solidFill>
                            <a:srgbClr val="E31837"/>
                          </a:solidFill>
                          <a:latin typeface="+mn-lt"/>
                        </a:rPr>
                        <a:t>+</a:t>
                      </a:r>
                      <a:r>
                        <a:rPr lang="en-US" sz="1000" b="1" spc="-20" dirty="0">
                          <a:solidFill>
                            <a:srgbClr val="E31837"/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spc="-10" dirty="0">
                          <a:solidFill>
                            <a:srgbClr val="E31837"/>
                          </a:solidFill>
                          <a:latin typeface="+mn-lt"/>
                        </a:rPr>
                        <a:t>pembrolizumab</a:t>
                      </a:r>
                      <a:endParaRPr lang="en-US" sz="1000" b="1" dirty="0">
                        <a:solidFill>
                          <a:srgbClr val="E31837"/>
                        </a:solidFill>
                        <a:latin typeface="+mn-lt"/>
                        <a:cs typeface="Helvetica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22.4 (24/107)</a:t>
                      </a: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0.561 (0.309-1.017)</a:t>
                      </a:r>
                      <a:b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000" b="1" i="1" dirty="0">
                          <a:solidFill>
                            <a:schemeClr val="tx1"/>
                          </a:solidFill>
                          <a:latin typeface="+mn-lt"/>
                        </a:rPr>
                        <a:t>P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 = 0.0266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n-lt"/>
                        <a:cs typeface="Helvetica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13681"/>
                  </a:ext>
                </a:extLst>
              </a:tr>
              <a:tr h="2945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r>
                        <a:rPr lang="en-US" sz="1000" b="1" spc="-10" dirty="0">
                          <a:solidFill>
                            <a:srgbClr val="4D4D4F"/>
                          </a:solidFill>
                          <a:latin typeface="+mn-lt"/>
                        </a:rPr>
                        <a:t>pembrolizumab</a:t>
                      </a:r>
                      <a:endParaRPr lang="en-US" sz="1000" dirty="0">
                        <a:solidFill>
                          <a:srgbClr val="4D4D4F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spc="-10" dirty="0">
                          <a:solidFill>
                            <a:schemeClr val="tx1"/>
                          </a:solidFill>
                          <a:latin typeface="+mn-lt"/>
                        </a:rPr>
                        <a:t>40.0 (20/50)</a:t>
                      </a: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378311"/>
                  </a:ext>
                </a:extLst>
              </a:tr>
            </a:tbl>
          </a:graphicData>
        </a:graphic>
      </p:graphicFrame>
      <p:sp>
        <p:nvSpPr>
          <p:cNvPr id="389" name="object 65">
            <a:extLst>
              <a:ext uri="{FF2B5EF4-FFF2-40B4-BE49-F238E27FC236}">
                <a16:creationId xmlns:a16="http://schemas.microsoft.com/office/drawing/2014/main" id="{554E346B-1A03-FCE8-4A38-B2EB83E99517}"/>
              </a:ext>
            </a:extLst>
          </p:cNvPr>
          <p:cNvSpPr txBox="1"/>
          <p:nvPr/>
        </p:nvSpPr>
        <p:spPr>
          <a:xfrm>
            <a:off x="9388570" y="1763174"/>
            <a:ext cx="166904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rPr>
              <a:t>+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rPr>
              <a:t>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rPr>
              <a:t>Censored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Helvetica"/>
            </a:endParaRPr>
          </a:p>
        </p:txBody>
      </p: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47C4E781-5886-37AB-50E0-4C997DB005BB}"/>
              </a:ext>
            </a:extLst>
          </p:cNvPr>
          <p:cNvCxnSpPr>
            <a:cxnSpLocks/>
          </p:cNvCxnSpPr>
          <p:nvPr/>
        </p:nvCxnSpPr>
        <p:spPr>
          <a:xfrm flipH="1">
            <a:off x="4863593" y="1647255"/>
            <a:ext cx="0" cy="2669674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  <a:miter lim="800000"/>
          </a:ln>
          <a:effectLst/>
        </p:spPr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4D5F9981-E6C7-4928-E6A0-FE707C1C1299}"/>
              </a:ext>
            </a:extLst>
          </p:cNvPr>
          <p:cNvCxnSpPr>
            <a:cxnSpLocks/>
          </p:cNvCxnSpPr>
          <p:nvPr/>
        </p:nvCxnSpPr>
        <p:spPr>
          <a:xfrm flipH="1">
            <a:off x="6094441" y="1647257"/>
            <a:ext cx="0" cy="2669672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  <a:miter lim="800000"/>
          </a:ln>
          <a:effectLst/>
        </p:spPr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57D460CC-FE62-6389-2CC3-0F0BAA6ECC2C}"/>
              </a:ext>
            </a:extLst>
          </p:cNvPr>
          <p:cNvSpPr txBox="1"/>
          <p:nvPr/>
        </p:nvSpPr>
        <p:spPr>
          <a:xfrm>
            <a:off x="4839787" y="1735603"/>
            <a:ext cx="614741" cy="274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3.4%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CA798823-C734-4B3B-8F76-68ADA13546D5}"/>
              </a:ext>
            </a:extLst>
          </p:cNvPr>
          <p:cNvSpPr txBox="1"/>
          <p:nvPr/>
        </p:nvSpPr>
        <p:spPr>
          <a:xfrm>
            <a:off x="4305525" y="2203388"/>
            <a:ext cx="614741" cy="274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.1%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1B88BF05-F6AE-06D9-D5ED-86A23D0E64A6}"/>
              </a:ext>
            </a:extLst>
          </p:cNvPr>
          <p:cNvSpPr txBox="1"/>
          <p:nvPr/>
        </p:nvSpPr>
        <p:spPr>
          <a:xfrm>
            <a:off x="6057630" y="1831602"/>
            <a:ext cx="6147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8.6%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2F975841-F2E9-6D6A-FC5E-16495F95E4D4}"/>
              </a:ext>
            </a:extLst>
          </p:cNvPr>
          <p:cNvSpPr txBox="1"/>
          <p:nvPr/>
        </p:nvSpPr>
        <p:spPr>
          <a:xfrm>
            <a:off x="5541569" y="2615908"/>
            <a:ext cx="614741" cy="274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2.2%</a:t>
            </a:r>
          </a:p>
        </p:txBody>
      </p:sp>
      <p:sp>
        <p:nvSpPr>
          <p:cNvPr id="396" name="TextBox 395">
            <a:extLst>
              <a:ext uri="{FF2B5EF4-FFF2-40B4-BE49-F238E27FC236}">
                <a16:creationId xmlns:a16="http://schemas.microsoft.com/office/drawing/2014/main" id="{9193A86A-0869-6AB1-BE76-600059C028A8}"/>
              </a:ext>
            </a:extLst>
          </p:cNvPr>
          <p:cNvSpPr txBox="1"/>
          <p:nvPr/>
        </p:nvSpPr>
        <p:spPr>
          <a:xfrm>
            <a:off x="4268711" y="1394264"/>
            <a:ext cx="119464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-month RFS</a:t>
            </a:r>
          </a:p>
        </p:txBody>
      </p:sp>
      <p:sp>
        <p:nvSpPr>
          <p:cNvPr id="397" name="TextBox 396">
            <a:extLst>
              <a:ext uri="{FF2B5EF4-FFF2-40B4-BE49-F238E27FC236}">
                <a16:creationId xmlns:a16="http://schemas.microsoft.com/office/drawing/2014/main" id="{97C32575-63B0-58F2-B875-F30B1B426412}"/>
              </a:ext>
            </a:extLst>
          </p:cNvPr>
          <p:cNvSpPr txBox="1"/>
          <p:nvPr/>
        </p:nvSpPr>
        <p:spPr>
          <a:xfrm>
            <a:off x="5500353" y="1394264"/>
            <a:ext cx="119464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-month RFS</a:t>
            </a:r>
          </a:p>
        </p:txBody>
      </p:sp>
    </p:spTree>
    <p:extLst>
      <p:ext uri="{BB962C8B-B14F-4D97-AF65-F5344CB8AC3E}">
        <p14:creationId xmlns:p14="http://schemas.microsoft.com/office/powerpoint/2010/main" val="40733342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F8FF6-59A4-C2E1-71B3-1C2F0D52A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92283"/>
            <a:ext cx="11307410" cy="643889"/>
          </a:xfrm>
        </p:spPr>
        <p:txBody>
          <a:bodyPr>
            <a:noAutofit/>
          </a:bodyPr>
          <a:lstStyle/>
          <a:p>
            <a:r>
              <a:rPr lang="en-US" sz="2600" dirty="0"/>
              <a:t>Secondary Efficacy Endpoint: DMF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078BCF7-0859-864B-31F1-37C8FABDBA9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6E0E35-E34D-5C07-BC96-9C853F2AC57C}"/>
              </a:ext>
            </a:extLst>
          </p:cNvPr>
          <p:cNvSpPr txBox="1"/>
          <p:nvPr/>
        </p:nvSpPr>
        <p:spPr>
          <a:xfrm>
            <a:off x="640080" y="5729759"/>
            <a:ext cx="11080432" cy="52322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hazard ratio and 95% CI for mRNA-4157 (V940) plus pembrolizumab versus pembrolizumab is estimated using a Cox proportional hazards model with treatment group as a covariate, stratified by disease stage (stages IIIB or IIIC or IIID vs stage IV) used for randomization. The </a:t>
            </a:r>
            <a:r>
              <a:rPr lang="en-US" sz="700" i="1" dirty="0">
                <a:solidFill>
                  <a:srgbClr val="002557"/>
                </a:solidFill>
                <a:latin typeface="Arial" panose="020B0604020202020204"/>
              </a:rPr>
              <a:t>P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alue is based on a 1-sided log-rank test stratified by disease stage (stages IIIB or IIIC or IIID vs stage IV) used for randomization. At 18-months, the estimated DMFS rates were 91.8% (95% CI, 84.2-95.8) versus 76.8% (95% CI, 61.0-86.8) in the combination and monotherapy arm, respectively.</a:t>
            </a:r>
          </a:p>
        </p:txBody>
      </p:sp>
      <p:graphicFrame>
        <p:nvGraphicFramePr>
          <p:cNvPr id="238" name="Chart 237">
            <a:extLst>
              <a:ext uri="{FF2B5EF4-FFF2-40B4-BE49-F238E27FC236}">
                <a16:creationId xmlns:a16="http://schemas.microsoft.com/office/drawing/2014/main" id="{745A395A-E18A-2807-2A89-482B59FEF650}"/>
              </a:ext>
            </a:extLst>
          </p:cNvPr>
          <p:cNvGraphicFramePr/>
          <p:nvPr/>
        </p:nvGraphicFramePr>
        <p:xfrm>
          <a:off x="1308980" y="1112533"/>
          <a:ext cx="10004458" cy="3886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55" name="Group 254">
            <a:extLst>
              <a:ext uri="{FF2B5EF4-FFF2-40B4-BE49-F238E27FC236}">
                <a16:creationId xmlns:a16="http://schemas.microsoft.com/office/drawing/2014/main" id="{C6673AEB-0835-CCCC-8E3D-6196424D59E3}"/>
              </a:ext>
            </a:extLst>
          </p:cNvPr>
          <p:cNvGrpSpPr/>
          <p:nvPr/>
        </p:nvGrpSpPr>
        <p:grpSpPr>
          <a:xfrm>
            <a:off x="2369599" y="1495356"/>
            <a:ext cx="7715968" cy="1124257"/>
            <a:chOff x="2369599" y="1626614"/>
            <a:chExt cx="7715968" cy="1124257"/>
          </a:xfrm>
        </p:grpSpPr>
        <p:sp>
          <p:nvSpPr>
            <p:cNvPr id="265" name="Freeform 15">
              <a:extLst>
                <a:ext uri="{FF2B5EF4-FFF2-40B4-BE49-F238E27FC236}">
                  <a16:creationId xmlns:a16="http://schemas.microsoft.com/office/drawing/2014/main" id="{CAD2D93B-B807-4DA2-6067-B98D17D77092}"/>
                </a:ext>
              </a:extLst>
            </p:cNvPr>
            <p:cNvSpPr/>
            <p:nvPr/>
          </p:nvSpPr>
          <p:spPr>
            <a:xfrm>
              <a:off x="2404199" y="1679177"/>
              <a:ext cx="7636818" cy="1029255"/>
            </a:xfrm>
            <a:custGeom>
              <a:avLst/>
              <a:gdLst>
                <a:gd name="connsiteX0" fmla="*/ 0 w 6208523"/>
                <a:gd name="connsiteY0" fmla="*/ 0 h 1090812"/>
                <a:gd name="connsiteX1" fmla="*/ 0 w 6208523"/>
                <a:gd name="connsiteY1" fmla="*/ 0 h 1090812"/>
                <a:gd name="connsiteX2" fmla="*/ 5695 w 6208523"/>
                <a:gd name="connsiteY2" fmla="*/ 0 h 1090812"/>
                <a:gd name="connsiteX3" fmla="*/ 202073 w 6208523"/>
                <a:gd name="connsiteY3" fmla="*/ 0 h 1090812"/>
                <a:gd name="connsiteX4" fmla="*/ 202073 w 6208523"/>
                <a:gd name="connsiteY4" fmla="*/ 60939 h 1090812"/>
                <a:gd name="connsiteX5" fmla="*/ 297567 w 6208523"/>
                <a:gd name="connsiteY5" fmla="*/ 60939 h 1090812"/>
                <a:gd name="connsiteX6" fmla="*/ 370585 w 6208523"/>
                <a:gd name="connsiteY6" fmla="*/ 60939 h 1090812"/>
                <a:gd name="connsiteX7" fmla="*/ 370585 w 6208523"/>
                <a:gd name="connsiteY7" fmla="*/ 123097 h 1090812"/>
                <a:gd name="connsiteX8" fmla="*/ 460282 w 6208523"/>
                <a:gd name="connsiteY8" fmla="*/ 123097 h 1090812"/>
                <a:gd name="connsiteX9" fmla="*/ 460282 w 6208523"/>
                <a:gd name="connsiteY9" fmla="*/ 185357 h 1090812"/>
                <a:gd name="connsiteX10" fmla="*/ 499639 w 6208523"/>
                <a:gd name="connsiteY10" fmla="*/ 185357 h 1090812"/>
                <a:gd name="connsiteX11" fmla="*/ 499639 w 6208523"/>
                <a:gd name="connsiteY11" fmla="*/ 247515 h 1090812"/>
                <a:gd name="connsiteX12" fmla="*/ 920666 w 6208523"/>
                <a:gd name="connsiteY12" fmla="*/ 247515 h 1090812"/>
                <a:gd name="connsiteX13" fmla="*/ 1409017 w 6208523"/>
                <a:gd name="connsiteY13" fmla="*/ 247515 h 1090812"/>
                <a:gd name="connsiteX14" fmla="*/ 1605497 w 6208523"/>
                <a:gd name="connsiteY14" fmla="*/ 247515 h 1090812"/>
                <a:gd name="connsiteX15" fmla="*/ 1605497 w 6208523"/>
                <a:gd name="connsiteY15" fmla="*/ 312821 h 1090812"/>
                <a:gd name="connsiteX16" fmla="*/ 1700889 w 6208523"/>
                <a:gd name="connsiteY16" fmla="*/ 312821 h 1090812"/>
                <a:gd name="connsiteX17" fmla="*/ 2385821 w 6208523"/>
                <a:gd name="connsiteY17" fmla="*/ 312821 h 1090812"/>
                <a:gd name="connsiteX18" fmla="*/ 2397007 w 6208523"/>
                <a:gd name="connsiteY18" fmla="*/ 312821 h 1090812"/>
                <a:gd name="connsiteX19" fmla="*/ 2397007 w 6208523"/>
                <a:gd name="connsiteY19" fmla="*/ 381480 h 1090812"/>
                <a:gd name="connsiteX20" fmla="*/ 2402601 w 6208523"/>
                <a:gd name="connsiteY20" fmla="*/ 381480 h 1090812"/>
                <a:gd name="connsiteX21" fmla="*/ 2408194 w 6208523"/>
                <a:gd name="connsiteY21" fmla="*/ 381480 h 1090812"/>
                <a:gd name="connsiteX22" fmla="*/ 2486806 w 6208523"/>
                <a:gd name="connsiteY22" fmla="*/ 381480 h 1090812"/>
                <a:gd name="connsiteX23" fmla="*/ 2486806 w 6208523"/>
                <a:gd name="connsiteY23" fmla="*/ 454099 h 1090812"/>
                <a:gd name="connsiteX24" fmla="*/ 2812339 w 6208523"/>
                <a:gd name="connsiteY24" fmla="*/ 454099 h 1090812"/>
                <a:gd name="connsiteX25" fmla="*/ 2812339 w 6208523"/>
                <a:gd name="connsiteY25" fmla="*/ 528952 h 1090812"/>
                <a:gd name="connsiteX26" fmla="*/ 2834814 w 6208523"/>
                <a:gd name="connsiteY26" fmla="*/ 528952 h 1090812"/>
                <a:gd name="connsiteX27" fmla="*/ 2834814 w 6208523"/>
                <a:gd name="connsiteY27" fmla="*/ 603806 h 1090812"/>
                <a:gd name="connsiteX28" fmla="*/ 2862883 w 6208523"/>
                <a:gd name="connsiteY28" fmla="*/ 603806 h 1090812"/>
                <a:gd name="connsiteX29" fmla="*/ 2862883 w 6208523"/>
                <a:gd name="connsiteY29" fmla="*/ 678558 h 1090812"/>
                <a:gd name="connsiteX30" fmla="*/ 3070549 w 6208523"/>
                <a:gd name="connsiteY30" fmla="*/ 678558 h 1090812"/>
                <a:gd name="connsiteX31" fmla="*/ 3272723 w 6208523"/>
                <a:gd name="connsiteY31" fmla="*/ 678558 h 1090812"/>
                <a:gd name="connsiteX32" fmla="*/ 3278317 w 6208523"/>
                <a:gd name="connsiteY32" fmla="*/ 678558 h 1090812"/>
                <a:gd name="connsiteX33" fmla="*/ 3283910 w 6208523"/>
                <a:gd name="connsiteY33" fmla="*/ 678558 h 1090812"/>
                <a:gd name="connsiteX34" fmla="*/ 3300792 w 6208523"/>
                <a:gd name="connsiteY34" fmla="*/ 678558 h 1090812"/>
                <a:gd name="connsiteX35" fmla="*/ 3311978 w 6208523"/>
                <a:gd name="connsiteY35" fmla="*/ 678558 h 1090812"/>
                <a:gd name="connsiteX36" fmla="*/ 3334454 w 6208523"/>
                <a:gd name="connsiteY36" fmla="*/ 678558 h 1090812"/>
                <a:gd name="connsiteX37" fmla="*/ 3345742 w 6208523"/>
                <a:gd name="connsiteY37" fmla="*/ 678558 h 1090812"/>
                <a:gd name="connsiteX38" fmla="*/ 3485983 w 6208523"/>
                <a:gd name="connsiteY38" fmla="*/ 678558 h 1090812"/>
                <a:gd name="connsiteX39" fmla="*/ 3704937 w 6208523"/>
                <a:gd name="connsiteY39" fmla="*/ 678558 h 1090812"/>
                <a:gd name="connsiteX40" fmla="*/ 3704937 w 6208523"/>
                <a:gd name="connsiteY40" fmla="*/ 785405 h 1090812"/>
                <a:gd name="connsiteX41" fmla="*/ 3716124 w 6208523"/>
                <a:gd name="connsiteY41" fmla="*/ 785405 h 1090812"/>
                <a:gd name="connsiteX42" fmla="*/ 3777956 w 6208523"/>
                <a:gd name="connsiteY42" fmla="*/ 785405 h 1090812"/>
                <a:gd name="connsiteX43" fmla="*/ 3794736 w 6208523"/>
                <a:gd name="connsiteY43" fmla="*/ 785405 h 1090812"/>
                <a:gd name="connsiteX44" fmla="*/ 3850873 w 6208523"/>
                <a:gd name="connsiteY44" fmla="*/ 785405 h 1090812"/>
                <a:gd name="connsiteX45" fmla="*/ 3862059 w 6208523"/>
                <a:gd name="connsiteY45" fmla="*/ 785405 h 1090812"/>
                <a:gd name="connsiteX46" fmla="*/ 3996808 w 6208523"/>
                <a:gd name="connsiteY46" fmla="*/ 785405 h 1090812"/>
                <a:gd name="connsiteX47" fmla="*/ 4052946 w 6208523"/>
                <a:gd name="connsiteY47" fmla="*/ 785405 h 1090812"/>
                <a:gd name="connsiteX48" fmla="*/ 4064234 w 6208523"/>
                <a:gd name="connsiteY48" fmla="*/ 785405 h 1090812"/>
                <a:gd name="connsiteX49" fmla="*/ 4367394 w 6208523"/>
                <a:gd name="connsiteY49" fmla="*/ 785405 h 1090812"/>
                <a:gd name="connsiteX50" fmla="*/ 4429022 w 6208523"/>
                <a:gd name="connsiteY50" fmla="*/ 785405 h 1090812"/>
                <a:gd name="connsiteX51" fmla="*/ 4451498 w 6208523"/>
                <a:gd name="connsiteY51" fmla="*/ 785405 h 1090812"/>
                <a:gd name="connsiteX52" fmla="*/ 4524516 w 6208523"/>
                <a:gd name="connsiteY52" fmla="*/ 785405 h 1090812"/>
                <a:gd name="connsiteX53" fmla="*/ 4625604 w 6208523"/>
                <a:gd name="connsiteY53" fmla="*/ 785405 h 1090812"/>
                <a:gd name="connsiteX54" fmla="*/ 4625604 w 6208523"/>
                <a:gd name="connsiteY54" fmla="*/ 1090812 h 1090812"/>
                <a:gd name="connsiteX55" fmla="*/ 4883813 w 6208523"/>
                <a:gd name="connsiteY55" fmla="*/ 1090812 h 1090812"/>
                <a:gd name="connsiteX56" fmla="*/ 4956730 w 6208523"/>
                <a:gd name="connsiteY56" fmla="*/ 1090812 h 1090812"/>
                <a:gd name="connsiteX57" fmla="*/ 5052122 w 6208523"/>
                <a:gd name="connsiteY57" fmla="*/ 1090812 h 1090812"/>
                <a:gd name="connsiteX58" fmla="*/ 5108361 w 6208523"/>
                <a:gd name="connsiteY58" fmla="*/ 1090812 h 1090812"/>
                <a:gd name="connsiteX59" fmla="*/ 6208523 w 6208523"/>
                <a:gd name="connsiteY59" fmla="*/ 1090812 h 1090812"/>
                <a:gd name="connsiteX0" fmla="*/ 0 w 7078473"/>
                <a:gd name="connsiteY0" fmla="*/ 0 h 1090812"/>
                <a:gd name="connsiteX1" fmla="*/ 0 w 7078473"/>
                <a:gd name="connsiteY1" fmla="*/ 0 h 1090812"/>
                <a:gd name="connsiteX2" fmla="*/ 5695 w 7078473"/>
                <a:gd name="connsiteY2" fmla="*/ 0 h 1090812"/>
                <a:gd name="connsiteX3" fmla="*/ 202073 w 7078473"/>
                <a:gd name="connsiteY3" fmla="*/ 0 h 1090812"/>
                <a:gd name="connsiteX4" fmla="*/ 202073 w 7078473"/>
                <a:gd name="connsiteY4" fmla="*/ 60939 h 1090812"/>
                <a:gd name="connsiteX5" fmla="*/ 297567 w 7078473"/>
                <a:gd name="connsiteY5" fmla="*/ 60939 h 1090812"/>
                <a:gd name="connsiteX6" fmla="*/ 370585 w 7078473"/>
                <a:gd name="connsiteY6" fmla="*/ 60939 h 1090812"/>
                <a:gd name="connsiteX7" fmla="*/ 370585 w 7078473"/>
                <a:gd name="connsiteY7" fmla="*/ 123097 h 1090812"/>
                <a:gd name="connsiteX8" fmla="*/ 460282 w 7078473"/>
                <a:gd name="connsiteY8" fmla="*/ 123097 h 1090812"/>
                <a:gd name="connsiteX9" fmla="*/ 460282 w 7078473"/>
                <a:gd name="connsiteY9" fmla="*/ 185357 h 1090812"/>
                <a:gd name="connsiteX10" fmla="*/ 499639 w 7078473"/>
                <a:gd name="connsiteY10" fmla="*/ 185357 h 1090812"/>
                <a:gd name="connsiteX11" fmla="*/ 499639 w 7078473"/>
                <a:gd name="connsiteY11" fmla="*/ 247515 h 1090812"/>
                <a:gd name="connsiteX12" fmla="*/ 920666 w 7078473"/>
                <a:gd name="connsiteY12" fmla="*/ 247515 h 1090812"/>
                <a:gd name="connsiteX13" fmla="*/ 1409017 w 7078473"/>
                <a:gd name="connsiteY13" fmla="*/ 247515 h 1090812"/>
                <a:gd name="connsiteX14" fmla="*/ 1605497 w 7078473"/>
                <a:gd name="connsiteY14" fmla="*/ 247515 h 1090812"/>
                <a:gd name="connsiteX15" fmla="*/ 1605497 w 7078473"/>
                <a:gd name="connsiteY15" fmla="*/ 312821 h 1090812"/>
                <a:gd name="connsiteX16" fmla="*/ 1700889 w 7078473"/>
                <a:gd name="connsiteY16" fmla="*/ 312821 h 1090812"/>
                <a:gd name="connsiteX17" fmla="*/ 2385821 w 7078473"/>
                <a:gd name="connsiteY17" fmla="*/ 312821 h 1090812"/>
                <a:gd name="connsiteX18" fmla="*/ 2397007 w 7078473"/>
                <a:gd name="connsiteY18" fmla="*/ 312821 h 1090812"/>
                <a:gd name="connsiteX19" fmla="*/ 2397007 w 7078473"/>
                <a:gd name="connsiteY19" fmla="*/ 381480 h 1090812"/>
                <a:gd name="connsiteX20" fmla="*/ 2402601 w 7078473"/>
                <a:gd name="connsiteY20" fmla="*/ 381480 h 1090812"/>
                <a:gd name="connsiteX21" fmla="*/ 2408194 w 7078473"/>
                <a:gd name="connsiteY21" fmla="*/ 381480 h 1090812"/>
                <a:gd name="connsiteX22" fmla="*/ 2486806 w 7078473"/>
                <a:gd name="connsiteY22" fmla="*/ 381480 h 1090812"/>
                <a:gd name="connsiteX23" fmla="*/ 2486806 w 7078473"/>
                <a:gd name="connsiteY23" fmla="*/ 454099 h 1090812"/>
                <a:gd name="connsiteX24" fmla="*/ 2812339 w 7078473"/>
                <a:gd name="connsiteY24" fmla="*/ 454099 h 1090812"/>
                <a:gd name="connsiteX25" fmla="*/ 2812339 w 7078473"/>
                <a:gd name="connsiteY25" fmla="*/ 528952 h 1090812"/>
                <a:gd name="connsiteX26" fmla="*/ 2834814 w 7078473"/>
                <a:gd name="connsiteY26" fmla="*/ 528952 h 1090812"/>
                <a:gd name="connsiteX27" fmla="*/ 2834814 w 7078473"/>
                <a:gd name="connsiteY27" fmla="*/ 603806 h 1090812"/>
                <a:gd name="connsiteX28" fmla="*/ 2862883 w 7078473"/>
                <a:gd name="connsiteY28" fmla="*/ 603806 h 1090812"/>
                <a:gd name="connsiteX29" fmla="*/ 2862883 w 7078473"/>
                <a:gd name="connsiteY29" fmla="*/ 678558 h 1090812"/>
                <a:gd name="connsiteX30" fmla="*/ 3070549 w 7078473"/>
                <a:gd name="connsiteY30" fmla="*/ 678558 h 1090812"/>
                <a:gd name="connsiteX31" fmla="*/ 3272723 w 7078473"/>
                <a:gd name="connsiteY31" fmla="*/ 678558 h 1090812"/>
                <a:gd name="connsiteX32" fmla="*/ 3278317 w 7078473"/>
                <a:gd name="connsiteY32" fmla="*/ 678558 h 1090812"/>
                <a:gd name="connsiteX33" fmla="*/ 3283910 w 7078473"/>
                <a:gd name="connsiteY33" fmla="*/ 678558 h 1090812"/>
                <a:gd name="connsiteX34" fmla="*/ 3300792 w 7078473"/>
                <a:gd name="connsiteY34" fmla="*/ 678558 h 1090812"/>
                <a:gd name="connsiteX35" fmla="*/ 3311978 w 7078473"/>
                <a:gd name="connsiteY35" fmla="*/ 678558 h 1090812"/>
                <a:gd name="connsiteX36" fmla="*/ 3334454 w 7078473"/>
                <a:gd name="connsiteY36" fmla="*/ 678558 h 1090812"/>
                <a:gd name="connsiteX37" fmla="*/ 3345742 w 7078473"/>
                <a:gd name="connsiteY37" fmla="*/ 678558 h 1090812"/>
                <a:gd name="connsiteX38" fmla="*/ 3485983 w 7078473"/>
                <a:gd name="connsiteY38" fmla="*/ 678558 h 1090812"/>
                <a:gd name="connsiteX39" fmla="*/ 3704937 w 7078473"/>
                <a:gd name="connsiteY39" fmla="*/ 678558 h 1090812"/>
                <a:gd name="connsiteX40" fmla="*/ 3704937 w 7078473"/>
                <a:gd name="connsiteY40" fmla="*/ 785405 h 1090812"/>
                <a:gd name="connsiteX41" fmla="*/ 3716124 w 7078473"/>
                <a:gd name="connsiteY41" fmla="*/ 785405 h 1090812"/>
                <a:gd name="connsiteX42" fmla="*/ 3777956 w 7078473"/>
                <a:gd name="connsiteY42" fmla="*/ 785405 h 1090812"/>
                <a:gd name="connsiteX43" fmla="*/ 3794736 w 7078473"/>
                <a:gd name="connsiteY43" fmla="*/ 785405 h 1090812"/>
                <a:gd name="connsiteX44" fmla="*/ 3850873 w 7078473"/>
                <a:gd name="connsiteY44" fmla="*/ 785405 h 1090812"/>
                <a:gd name="connsiteX45" fmla="*/ 3862059 w 7078473"/>
                <a:gd name="connsiteY45" fmla="*/ 785405 h 1090812"/>
                <a:gd name="connsiteX46" fmla="*/ 3996808 w 7078473"/>
                <a:gd name="connsiteY46" fmla="*/ 785405 h 1090812"/>
                <a:gd name="connsiteX47" fmla="*/ 4052946 w 7078473"/>
                <a:gd name="connsiteY47" fmla="*/ 785405 h 1090812"/>
                <a:gd name="connsiteX48" fmla="*/ 4064234 w 7078473"/>
                <a:gd name="connsiteY48" fmla="*/ 785405 h 1090812"/>
                <a:gd name="connsiteX49" fmla="*/ 4367394 w 7078473"/>
                <a:gd name="connsiteY49" fmla="*/ 785405 h 1090812"/>
                <a:gd name="connsiteX50" fmla="*/ 4429022 w 7078473"/>
                <a:gd name="connsiteY50" fmla="*/ 785405 h 1090812"/>
                <a:gd name="connsiteX51" fmla="*/ 4451498 w 7078473"/>
                <a:gd name="connsiteY51" fmla="*/ 785405 h 1090812"/>
                <a:gd name="connsiteX52" fmla="*/ 4524516 w 7078473"/>
                <a:gd name="connsiteY52" fmla="*/ 785405 h 1090812"/>
                <a:gd name="connsiteX53" fmla="*/ 4625604 w 7078473"/>
                <a:gd name="connsiteY53" fmla="*/ 785405 h 1090812"/>
                <a:gd name="connsiteX54" fmla="*/ 4625604 w 7078473"/>
                <a:gd name="connsiteY54" fmla="*/ 1090812 h 1090812"/>
                <a:gd name="connsiteX55" fmla="*/ 4883813 w 7078473"/>
                <a:gd name="connsiteY55" fmla="*/ 1090812 h 1090812"/>
                <a:gd name="connsiteX56" fmla="*/ 4956730 w 7078473"/>
                <a:gd name="connsiteY56" fmla="*/ 1090812 h 1090812"/>
                <a:gd name="connsiteX57" fmla="*/ 5052122 w 7078473"/>
                <a:gd name="connsiteY57" fmla="*/ 1090812 h 1090812"/>
                <a:gd name="connsiteX58" fmla="*/ 5108361 w 7078473"/>
                <a:gd name="connsiteY58" fmla="*/ 1090812 h 1090812"/>
                <a:gd name="connsiteX59" fmla="*/ 7078473 w 7078473"/>
                <a:gd name="connsiteY59" fmla="*/ 1084462 h 1090812"/>
                <a:gd name="connsiteX0" fmla="*/ 0 w 7274416"/>
                <a:gd name="connsiteY0" fmla="*/ 0 h 1090812"/>
                <a:gd name="connsiteX1" fmla="*/ 0 w 7274416"/>
                <a:gd name="connsiteY1" fmla="*/ 0 h 1090812"/>
                <a:gd name="connsiteX2" fmla="*/ 5695 w 7274416"/>
                <a:gd name="connsiteY2" fmla="*/ 0 h 1090812"/>
                <a:gd name="connsiteX3" fmla="*/ 202073 w 7274416"/>
                <a:gd name="connsiteY3" fmla="*/ 0 h 1090812"/>
                <a:gd name="connsiteX4" fmla="*/ 202073 w 7274416"/>
                <a:gd name="connsiteY4" fmla="*/ 60939 h 1090812"/>
                <a:gd name="connsiteX5" fmla="*/ 297567 w 7274416"/>
                <a:gd name="connsiteY5" fmla="*/ 60939 h 1090812"/>
                <a:gd name="connsiteX6" fmla="*/ 370585 w 7274416"/>
                <a:gd name="connsiteY6" fmla="*/ 60939 h 1090812"/>
                <a:gd name="connsiteX7" fmla="*/ 370585 w 7274416"/>
                <a:gd name="connsiteY7" fmla="*/ 123097 h 1090812"/>
                <a:gd name="connsiteX8" fmla="*/ 460282 w 7274416"/>
                <a:gd name="connsiteY8" fmla="*/ 123097 h 1090812"/>
                <a:gd name="connsiteX9" fmla="*/ 460282 w 7274416"/>
                <a:gd name="connsiteY9" fmla="*/ 185357 h 1090812"/>
                <a:gd name="connsiteX10" fmla="*/ 499639 w 7274416"/>
                <a:gd name="connsiteY10" fmla="*/ 185357 h 1090812"/>
                <a:gd name="connsiteX11" fmla="*/ 499639 w 7274416"/>
                <a:gd name="connsiteY11" fmla="*/ 247515 h 1090812"/>
                <a:gd name="connsiteX12" fmla="*/ 920666 w 7274416"/>
                <a:gd name="connsiteY12" fmla="*/ 247515 h 1090812"/>
                <a:gd name="connsiteX13" fmla="*/ 1409017 w 7274416"/>
                <a:gd name="connsiteY13" fmla="*/ 247515 h 1090812"/>
                <a:gd name="connsiteX14" fmla="*/ 1605497 w 7274416"/>
                <a:gd name="connsiteY14" fmla="*/ 247515 h 1090812"/>
                <a:gd name="connsiteX15" fmla="*/ 1605497 w 7274416"/>
                <a:gd name="connsiteY15" fmla="*/ 312821 h 1090812"/>
                <a:gd name="connsiteX16" fmla="*/ 1700889 w 7274416"/>
                <a:gd name="connsiteY16" fmla="*/ 312821 h 1090812"/>
                <a:gd name="connsiteX17" fmla="*/ 2385821 w 7274416"/>
                <a:gd name="connsiteY17" fmla="*/ 312821 h 1090812"/>
                <a:gd name="connsiteX18" fmla="*/ 2397007 w 7274416"/>
                <a:gd name="connsiteY18" fmla="*/ 312821 h 1090812"/>
                <a:gd name="connsiteX19" fmla="*/ 2397007 w 7274416"/>
                <a:gd name="connsiteY19" fmla="*/ 381480 h 1090812"/>
                <a:gd name="connsiteX20" fmla="*/ 2402601 w 7274416"/>
                <a:gd name="connsiteY20" fmla="*/ 381480 h 1090812"/>
                <a:gd name="connsiteX21" fmla="*/ 2408194 w 7274416"/>
                <a:gd name="connsiteY21" fmla="*/ 381480 h 1090812"/>
                <a:gd name="connsiteX22" fmla="*/ 2486806 w 7274416"/>
                <a:gd name="connsiteY22" fmla="*/ 381480 h 1090812"/>
                <a:gd name="connsiteX23" fmla="*/ 2486806 w 7274416"/>
                <a:gd name="connsiteY23" fmla="*/ 454099 h 1090812"/>
                <a:gd name="connsiteX24" fmla="*/ 2812339 w 7274416"/>
                <a:gd name="connsiteY24" fmla="*/ 454099 h 1090812"/>
                <a:gd name="connsiteX25" fmla="*/ 2812339 w 7274416"/>
                <a:gd name="connsiteY25" fmla="*/ 528952 h 1090812"/>
                <a:gd name="connsiteX26" fmla="*/ 2834814 w 7274416"/>
                <a:gd name="connsiteY26" fmla="*/ 528952 h 1090812"/>
                <a:gd name="connsiteX27" fmla="*/ 2834814 w 7274416"/>
                <a:gd name="connsiteY27" fmla="*/ 603806 h 1090812"/>
                <a:gd name="connsiteX28" fmla="*/ 2862883 w 7274416"/>
                <a:gd name="connsiteY28" fmla="*/ 603806 h 1090812"/>
                <a:gd name="connsiteX29" fmla="*/ 2862883 w 7274416"/>
                <a:gd name="connsiteY29" fmla="*/ 678558 h 1090812"/>
                <a:gd name="connsiteX30" fmla="*/ 3070549 w 7274416"/>
                <a:gd name="connsiteY30" fmla="*/ 678558 h 1090812"/>
                <a:gd name="connsiteX31" fmla="*/ 3272723 w 7274416"/>
                <a:gd name="connsiteY31" fmla="*/ 678558 h 1090812"/>
                <a:gd name="connsiteX32" fmla="*/ 3278317 w 7274416"/>
                <a:gd name="connsiteY32" fmla="*/ 678558 h 1090812"/>
                <a:gd name="connsiteX33" fmla="*/ 3283910 w 7274416"/>
                <a:gd name="connsiteY33" fmla="*/ 678558 h 1090812"/>
                <a:gd name="connsiteX34" fmla="*/ 3300792 w 7274416"/>
                <a:gd name="connsiteY34" fmla="*/ 678558 h 1090812"/>
                <a:gd name="connsiteX35" fmla="*/ 3311978 w 7274416"/>
                <a:gd name="connsiteY35" fmla="*/ 678558 h 1090812"/>
                <a:gd name="connsiteX36" fmla="*/ 3334454 w 7274416"/>
                <a:gd name="connsiteY36" fmla="*/ 678558 h 1090812"/>
                <a:gd name="connsiteX37" fmla="*/ 3345742 w 7274416"/>
                <a:gd name="connsiteY37" fmla="*/ 678558 h 1090812"/>
                <a:gd name="connsiteX38" fmla="*/ 3485983 w 7274416"/>
                <a:gd name="connsiteY38" fmla="*/ 678558 h 1090812"/>
                <a:gd name="connsiteX39" fmla="*/ 3704937 w 7274416"/>
                <a:gd name="connsiteY39" fmla="*/ 678558 h 1090812"/>
                <a:gd name="connsiteX40" fmla="*/ 3704937 w 7274416"/>
                <a:gd name="connsiteY40" fmla="*/ 785405 h 1090812"/>
                <a:gd name="connsiteX41" fmla="*/ 3716124 w 7274416"/>
                <a:gd name="connsiteY41" fmla="*/ 785405 h 1090812"/>
                <a:gd name="connsiteX42" fmla="*/ 3777956 w 7274416"/>
                <a:gd name="connsiteY42" fmla="*/ 785405 h 1090812"/>
                <a:gd name="connsiteX43" fmla="*/ 3794736 w 7274416"/>
                <a:gd name="connsiteY43" fmla="*/ 785405 h 1090812"/>
                <a:gd name="connsiteX44" fmla="*/ 3850873 w 7274416"/>
                <a:gd name="connsiteY44" fmla="*/ 785405 h 1090812"/>
                <a:gd name="connsiteX45" fmla="*/ 3862059 w 7274416"/>
                <a:gd name="connsiteY45" fmla="*/ 785405 h 1090812"/>
                <a:gd name="connsiteX46" fmla="*/ 3996808 w 7274416"/>
                <a:gd name="connsiteY46" fmla="*/ 785405 h 1090812"/>
                <a:gd name="connsiteX47" fmla="*/ 4052946 w 7274416"/>
                <a:gd name="connsiteY47" fmla="*/ 785405 h 1090812"/>
                <a:gd name="connsiteX48" fmla="*/ 4064234 w 7274416"/>
                <a:gd name="connsiteY48" fmla="*/ 785405 h 1090812"/>
                <a:gd name="connsiteX49" fmla="*/ 4367394 w 7274416"/>
                <a:gd name="connsiteY49" fmla="*/ 785405 h 1090812"/>
                <a:gd name="connsiteX50" fmla="*/ 4429022 w 7274416"/>
                <a:gd name="connsiteY50" fmla="*/ 785405 h 1090812"/>
                <a:gd name="connsiteX51" fmla="*/ 4451498 w 7274416"/>
                <a:gd name="connsiteY51" fmla="*/ 785405 h 1090812"/>
                <a:gd name="connsiteX52" fmla="*/ 4524516 w 7274416"/>
                <a:gd name="connsiteY52" fmla="*/ 785405 h 1090812"/>
                <a:gd name="connsiteX53" fmla="*/ 4625604 w 7274416"/>
                <a:gd name="connsiteY53" fmla="*/ 785405 h 1090812"/>
                <a:gd name="connsiteX54" fmla="*/ 4625604 w 7274416"/>
                <a:gd name="connsiteY54" fmla="*/ 1090812 h 1090812"/>
                <a:gd name="connsiteX55" fmla="*/ 4883813 w 7274416"/>
                <a:gd name="connsiteY55" fmla="*/ 1090812 h 1090812"/>
                <a:gd name="connsiteX56" fmla="*/ 4956730 w 7274416"/>
                <a:gd name="connsiteY56" fmla="*/ 1090812 h 1090812"/>
                <a:gd name="connsiteX57" fmla="*/ 5052122 w 7274416"/>
                <a:gd name="connsiteY57" fmla="*/ 1090812 h 1090812"/>
                <a:gd name="connsiteX58" fmla="*/ 5108361 w 7274416"/>
                <a:gd name="connsiteY58" fmla="*/ 1090812 h 1090812"/>
                <a:gd name="connsiteX59" fmla="*/ 7274416 w 7274416"/>
                <a:gd name="connsiteY59" fmla="*/ 1084462 h 1090812"/>
                <a:gd name="connsiteX0" fmla="*/ 0 w 6577300"/>
                <a:gd name="connsiteY0" fmla="*/ 0 h 1090812"/>
                <a:gd name="connsiteX1" fmla="*/ 0 w 6577300"/>
                <a:gd name="connsiteY1" fmla="*/ 0 h 1090812"/>
                <a:gd name="connsiteX2" fmla="*/ 5695 w 6577300"/>
                <a:gd name="connsiteY2" fmla="*/ 0 h 1090812"/>
                <a:gd name="connsiteX3" fmla="*/ 202073 w 6577300"/>
                <a:gd name="connsiteY3" fmla="*/ 0 h 1090812"/>
                <a:gd name="connsiteX4" fmla="*/ 202073 w 6577300"/>
                <a:gd name="connsiteY4" fmla="*/ 60939 h 1090812"/>
                <a:gd name="connsiteX5" fmla="*/ 297567 w 6577300"/>
                <a:gd name="connsiteY5" fmla="*/ 60939 h 1090812"/>
                <a:gd name="connsiteX6" fmla="*/ 370585 w 6577300"/>
                <a:gd name="connsiteY6" fmla="*/ 60939 h 1090812"/>
                <a:gd name="connsiteX7" fmla="*/ 370585 w 6577300"/>
                <a:gd name="connsiteY7" fmla="*/ 123097 h 1090812"/>
                <a:gd name="connsiteX8" fmla="*/ 460282 w 6577300"/>
                <a:gd name="connsiteY8" fmla="*/ 123097 h 1090812"/>
                <a:gd name="connsiteX9" fmla="*/ 460282 w 6577300"/>
                <a:gd name="connsiteY9" fmla="*/ 185357 h 1090812"/>
                <a:gd name="connsiteX10" fmla="*/ 499639 w 6577300"/>
                <a:gd name="connsiteY10" fmla="*/ 185357 h 1090812"/>
                <a:gd name="connsiteX11" fmla="*/ 499639 w 6577300"/>
                <a:gd name="connsiteY11" fmla="*/ 247515 h 1090812"/>
                <a:gd name="connsiteX12" fmla="*/ 920666 w 6577300"/>
                <a:gd name="connsiteY12" fmla="*/ 247515 h 1090812"/>
                <a:gd name="connsiteX13" fmla="*/ 1409017 w 6577300"/>
                <a:gd name="connsiteY13" fmla="*/ 247515 h 1090812"/>
                <a:gd name="connsiteX14" fmla="*/ 1605497 w 6577300"/>
                <a:gd name="connsiteY14" fmla="*/ 247515 h 1090812"/>
                <a:gd name="connsiteX15" fmla="*/ 1605497 w 6577300"/>
                <a:gd name="connsiteY15" fmla="*/ 312821 h 1090812"/>
                <a:gd name="connsiteX16" fmla="*/ 1700889 w 6577300"/>
                <a:gd name="connsiteY16" fmla="*/ 312821 h 1090812"/>
                <a:gd name="connsiteX17" fmla="*/ 2385821 w 6577300"/>
                <a:gd name="connsiteY17" fmla="*/ 312821 h 1090812"/>
                <a:gd name="connsiteX18" fmla="*/ 2397007 w 6577300"/>
                <a:gd name="connsiteY18" fmla="*/ 312821 h 1090812"/>
                <a:gd name="connsiteX19" fmla="*/ 2397007 w 6577300"/>
                <a:gd name="connsiteY19" fmla="*/ 381480 h 1090812"/>
                <a:gd name="connsiteX20" fmla="*/ 2402601 w 6577300"/>
                <a:gd name="connsiteY20" fmla="*/ 381480 h 1090812"/>
                <a:gd name="connsiteX21" fmla="*/ 2408194 w 6577300"/>
                <a:gd name="connsiteY21" fmla="*/ 381480 h 1090812"/>
                <a:gd name="connsiteX22" fmla="*/ 2486806 w 6577300"/>
                <a:gd name="connsiteY22" fmla="*/ 381480 h 1090812"/>
                <a:gd name="connsiteX23" fmla="*/ 2486806 w 6577300"/>
                <a:gd name="connsiteY23" fmla="*/ 454099 h 1090812"/>
                <a:gd name="connsiteX24" fmla="*/ 2812339 w 6577300"/>
                <a:gd name="connsiteY24" fmla="*/ 454099 h 1090812"/>
                <a:gd name="connsiteX25" fmla="*/ 2812339 w 6577300"/>
                <a:gd name="connsiteY25" fmla="*/ 528952 h 1090812"/>
                <a:gd name="connsiteX26" fmla="*/ 2834814 w 6577300"/>
                <a:gd name="connsiteY26" fmla="*/ 528952 h 1090812"/>
                <a:gd name="connsiteX27" fmla="*/ 2834814 w 6577300"/>
                <a:gd name="connsiteY27" fmla="*/ 603806 h 1090812"/>
                <a:gd name="connsiteX28" fmla="*/ 2862883 w 6577300"/>
                <a:gd name="connsiteY28" fmla="*/ 603806 h 1090812"/>
                <a:gd name="connsiteX29" fmla="*/ 2862883 w 6577300"/>
                <a:gd name="connsiteY29" fmla="*/ 678558 h 1090812"/>
                <a:gd name="connsiteX30" fmla="*/ 3070549 w 6577300"/>
                <a:gd name="connsiteY30" fmla="*/ 678558 h 1090812"/>
                <a:gd name="connsiteX31" fmla="*/ 3272723 w 6577300"/>
                <a:gd name="connsiteY31" fmla="*/ 678558 h 1090812"/>
                <a:gd name="connsiteX32" fmla="*/ 3278317 w 6577300"/>
                <a:gd name="connsiteY32" fmla="*/ 678558 h 1090812"/>
                <a:gd name="connsiteX33" fmla="*/ 3283910 w 6577300"/>
                <a:gd name="connsiteY33" fmla="*/ 678558 h 1090812"/>
                <a:gd name="connsiteX34" fmla="*/ 3300792 w 6577300"/>
                <a:gd name="connsiteY34" fmla="*/ 678558 h 1090812"/>
                <a:gd name="connsiteX35" fmla="*/ 3311978 w 6577300"/>
                <a:gd name="connsiteY35" fmla="*/ 678558 h 1090812"/>
                <a:gd name="connsiteX36" fmla="*/ 3334454 w 6577300"/>
                <a:gd name="connsiteY36" fmla="*/ 678558 h 1090812"/>
                <a:gd name="connsiteX37" fmla="*/ 3345742 w 6577300"/>
                <a:gd name="connsiteY37" fmla="*/ 678558 h 1090812"/>
                <a:gd name="connsiteX38" fmla="*/ 3485983 w 6577300"/>
                <a:gd name="connsiteY38" fmla="*/ 678558 h 1090812"/>
                <a:gd name="connsiteX39" fmla="*/ 3704937 w 6577300"/>
                <a:gd name="connsiteY39" fmla="*/ 678558 h 1090812"/>
                <a:gd name="connsiteX40" fmla="*/ 3704937 w 6577300"/>
                <a:gd name="connsiteY40" fmla="*/ 785405 h 1090812"/>
                <a:gd name="connsiteX41" fmla="*/ 3716124 w 6577300"/>
                <a:gd name="connsiteY41" fmla="*/ 785405 h 1090812"/>
                <a:gd name="connsiteX42" fmla="*/ 3777956 w 6577300"/>
                <a:gd name="connsiteY42" fmla="*/ 785405 h 1090812"/>
                <a:gd name="connsiteX43" fmla="*/ 3794736 w 6577300"/>
                <a:gd name="connsiteY43" fmla="*/ 785405 h 1090812"/>
                <a:gd name="connsiteX44" fmla="*/ 3850873 w 6577300"/>
                <a:gd name="connsiteY44" fmla="*/ 785405 h 1090812"/>
                <a:gd name="connsiteX45" fmla="*/ 3862059 w 6577300"/>
                <a:gd name="connsiteY45" fmla="*/ 785405 h 1090812"/>
                <a:gd name="connsiteX46" fmla="*/ 3996808 w 6577300"/>
                <a:gd name="connsiteY46" fmla="*/ 785405 h 1090812"/>
                <a:gd name="connsiteX47" fmla="*/ 4052946 w 6577300"/>
                <a:gd name="connsiteY47" fmla="*/ 785405 h 1090812"/>
                <a:gd name="connsiteX48" fmla="*/ 4064234 w 6577300"/>
                <a:gd name="connsiteY48" fmla="*/ 785405 h 1090812"/>
                <a:gd name="connsiteX49" fmla="*/ 4367394 w 6577300"/>
                <a:gd name="connsiteY49" fmla="*/ 785405 h 1090812"/>
                <a:gd name="connsiteX50" fmla="*/ 4429022 w 6577300"/>
                <a:gd name="connsiteY50" fmla="*/ 785405 h 1090812"/>
                <a:gd name="connsiteX51" fmla="*/ 4451498 w 6577300"/>
                <a:gd name="connsiteY51" fmla="*/ 785405 h 1090812"/>
                <a:gd name="connsiteX52" fmla="*/ 4524516 w 6577300"/>
                <a:gd name="connsiteY52" fmla="*/ 785405 h 1090812"/>
                <a:gd name="connsiteX53" fmla="*/ 4625604 w 6577300"/>
                <a:gd name="connsiteY53" fmla="*/ 785405 h 1090812"/>
                <a:gd name="connsiteX54" fmla="*/ 4625604 w 6577300"/>
                <a:gd name="connsiteY54" fmla="*/ 1090812 h 1090812"/>
                <a:gd name="connsiteX55" fmla="*/ 4883813 w 6577300"/>
                <a:gd name="connsiteY55" fmla="*/ 1090812 h 1090812"/>
                <a:gd name="connsiteX56" fmla="*/ 4956730 w 6577300"/>
                <a:gd name="connsiteY56" fmla="*/ 1090812 h 1090812"/>
                <a:gd name="connsiteX57" fmla="*/ 5052122 w 6577300"/>
                <a:gd name="connsiteY57" fmla="*/ 1090812 h 1090812"/>
                <a:gd name="connsiteX58" fmla="*/ 5108361 w 6577300"/>
                <a:gd name="connsiteY58" fmla="*/ 1090812 h 1090812"/>
                <a:gd name="connsiteX59" fmla="*/ 6577300 w 6577300"/>
                <a:gd name="connsiteY59" fmla="*/ 1084462 h 1090812"/>
                <a:gd name="connsiteX0" fmla="*/ 0 w 6577300"/>
                <a:gd name="connsiteY0" fmla="*/ 0 h 1090812"/>
                <a:gd name="connsiteX1" fmla="*/ 0 w 6577300"/>
                <a:gd name="connsiteY1" fmla="*/ 0 h 1090812"/>
                <a:gd name="connsiteX2" fmla="*/ 5695 w 6577300"/>
                <a:gd name="connsiteY2" fmla="*/ 0 h 1090812"/>
                <a:gd name="connsiteX3" fmla="*/ 202073 w 6577300"/>
                <a:gd name="connsiteY3" fmla="*/ 0 h 1090812"/>
                <a:gd name="connsiteX4" fmla="*/ 202073 w 6577300"/>
                <a:gd name="connsiteY4" fmla="*/ 60939 h 1090812"/>
                <a:gd name="connsiteX5" fmla="*/ 297567 w 6577300"/>
                <a:gd name="connsiteY5" fmla="*/ 60939 h 1090812"/>
                <a:gd name="connsiteX6" fmla="*/ 370585 w 6577300"/>
                <a:gd name="connsiteY6" fmla="*/ 60939 h 1090812"/>
                <a:gd name="connsiteX7" fmla="*/ 370585 w 6577300"/>
                <a:gd name="connsiteY7" fmla="*/ 123097 h 1090812"/>
                <a:gd name="connsiteX8" fmla="*/ 460282 w 6577300"/>
                <a:gd name="connsiteY8" fmla="*/ 123097 h 1090812"/>
                <a:gd name="connsiteX9" fmla="*/ 460282 w 6577300"/>
                <a:gd name="connsiteY9" fmla="*/ 185357 h 1090812"/>
                <a:gd name="connsiteX10" fmla="*/ 499639 w 6577300"/>
                <a:gd name="connsiteY10" fmla="*/ 185357 h 1090812"/>
                <a:gd name="connsiteX11" fmla="*/ 499639 w 6577300"/>
                <a:gd name="connsiteY11" fmla="*/ 247515 h 1090812"/>
                <a:gd name="connsiteX12" fmla="*/ 920666 w 6577300"/>
                <a:gd name="connsiteY12" fmla="*/ 247515 h 1090812"/>
                <a:gd name="connsiteX13" fmla="*/ 1409017 w 6577300"/>
                <a:gd name="connsiteY13" fmla="*/ 247515 h 1090812"/>
                <a:gd name="connsiteX14" fmla="*/ 1605497 w 6577300"/>
                <a:gd name="connsiteY14" fmla="*/ 247515 h 1090812"/>
                <a:gd name="connsiteX15" fmla="*/ 1605497 w 6577300"/>
                <a:gd name="connsiteY15" fmla="*/ 312821 h 1090812"/>
                <a:gd name="connsiteX16" fmla="*/ 1700889 w 6577300"/>
                <a:gd name="connsiteY16" fmla="*/ 312821 h 1090812"/>
                <a:gd name="connsiteX17" fmla="*/ 2385821 w 6577300"/>
                <a:gd name="connsiteY17" fmla="*/ 312821 h 1090812"/>
                <a:gd name="connsiteX18" fmla="*/ 2397007 w 6577300"/>
                <a:gd name="connsiteY18" fmla="*/ 312821 h 1090812"/>
                <a:gd name="connsiteX19" fmla="*/ 2397007 w 6577300"/>
                <a:gd name="connsiteY19" fmla="*/ 381480 h 1090812"/>
                <a:gd name="connsiteX20" fmla="*/ 2402601 w 6577300"/>
                <a:gd name="connsiteY20" fmla="*/ 381480 h 1090812"/>
                <a:gd name="connsiteX21" fmla="*/ 2408194 w 6577300"/>
                <a:gd name="connsiteY21" fmla="*/ 381480 h 1090812"/>
                <a:gd name="connsiteX22" fmla="*/ 2486806 w 6577300"/>
                <a:gd name="connsiteY22" fmla="*/ 381480 h 1090812"/>
                <a:gd name="connsiteX23" fmla="*/ 2486806 w 6577300"/>
                <a:gd name="connsiteY23" fmla="*/ 454099 h 1090812"/>
                <a:gd name="connsiteX24" fmla="*/ 2812339 w 6577300"/>
                <a:gd name="connsiteY24" fmla="*/ 454099 h 1090812"/>
                <a:gd name="connsiteX25" fmla="*/ 2812339 w 6577300"/>
                <a:gd name="connsiteY25" fmla="*/ 528952 h 1090812"/>
                <a:gd name="connsiteX26" fmla="*/ 2834814 w 6577300"/>
                <a:gd name="connsiteY26" fmla="*/ 528952 h 1090812"/>
                <a:gd name="connsiteX27" fmla="*/ 2834814 w 6577300"/>
                <a:gd name="connsiteY27" fmla="*/ 603806 h 1090812"/>
                <a:gd name="connsiteX28" fmla="*/ 2862883 w 6577300"/>
                <a:gd name="connsiteY28" fmla="*/ 603806 h 1090812"/>
                <a:gd name="connsiteX29" fmla="*/ 2862883 w 6577300"/>
                <a:gd name="connsiteY29" fmla="*/ 678558 h 1090812"/>
                <a:gd name="connsiteX30" fmla="*/ 3070549 w 6577300"/>
                <a:gd name="connsiteY30" fmla="*/ 678558 h 1090812"/>
                <a:gd name="connsiteX31" fmla="*/ 3272723 w 6577300"/>
                <a:gd name="connsiteY31" fmla="*/ 678558 h 1090812"/>
                <a:gd name="connsiteX32" fmla="*/ 3278317 w 6577300"/>
                <a:gd name="connsiteY32" fmla="*/ 678558 h 1090812"/>
                <a:gd name="connsiteX33" fmla="*/ 3283910 w 6577300"/>
                <a:gd name="connsiteY33" fmla="*/ 678558 h 1090812"/>
                <a:gd name="connsiteX34" fmla="*/ 3300792 w 6577300"/>
                <a:gd name="connsiteY34" fmla="*/ 678558 h 1090812"/>
                <a:gd name="connsiteX35" fmla="*/ 3311978 w 6577300"/>
                <a:gd name="connsiteY35" fmla="*/ 678558 h 1090812"/>
                <a:gd name="connsiteX36" fmla="*/ 3334454 w 6577300"/>
                <a:gd name="connsiteY36" fmla="*/ 678558 h 1090812"/>
                <a:gd name="connsiteX37" fmla="*/ 3345742 w 6577300"/>
                <a:gd name="connsiteY37" fmla="*/ 678558 h 1090812"/>
                <a:gd name="connsiteX38" fmla="*/ 3485983 w 6577300"/>
                <a:gd name="connsiteY38" fmla="*/ 678558 h 1090812"/>
                <a:gd name="connsiteX39" fmla="*/ 3704937 w 6577300"/>
                <a:gd name="connsiteY39" fmla="*/ 678558 h 1090812"/>
                <a:gd name="connsiteX40" fmla="*/ 3704937 w 6577300"/>
                <a:gd name="connsiteY40" fmla="*/ 785405 h 1090812"/>
                <a:gd name="connsiteX41" fmla="*/ 3716124 w 6577300"/>
                <a:gd name="connsiteY41" fmla="*/ 785405 h 1090812"/>
                <a:gd name="connsiteX42" fmla="*/ 3777956 w 6577300"/>
                <a:gd name="connsiteY42" fmla="*/ 785405 h 1090812"/>
                <a:gd name="connsiteX43" fmla="*/ 3794736 w 6577300"/>
                <a:gd name="connsiteY43" fmla="*/ 785405 h 1090812"/>
                <a:gd name="connsiteX44" fmla="*/ 3850873 w 6577300"/>
                <a:gd name="connsiteY44" fmla="*/ 785405 h 1090812"/>
                <a:gd name="connsiteX45" fmla="*/ 3862059 w 6577300"/>
                <a:gd name="connsiteY45" fmla="*/ 785405 h 1090812"/>
                <a:gd name="connsiteX46" fmla="*/ 3996808 w 6577300"/>
                <a:gd name="connsiteY46" fmla="*/ 785405 h 1090812"/>
                <a:gd name="connsiteX47" fmla="*/ 4052946 w 6577300"/>
                <a:gd name="connsiteY47" fmla="*/ 785405 h 1090812"/>
                <a:gd name="connsiteX48" fmla="*/ 4064234 w 6577300"/>
                <a:gd name="connsiteY48" fmla="*/ 785405 h 1090812"/>
                <a:gd name="connsiteX49" fmla="*/ 4367394 w 6577300"/>
                <a:gd name="connsiteY49" fmla="*/ 785405 h 1090812"/>
                <a:gd name="connsiteX50" fmla="*/ 4429022 w 6577300"/>
                <a:gd name="connsiteY50" fmla="*/ 785405 h 1090812"/>
                <a:gd name="connsiteX51" fmla="*/ 4451498 w 6577300"/>
                <a:gd name="connsiteY51" fmla="*/ 785405 h 1090812"/>
                <a:gd name="connsiteX52" fmla="*/ 4524516 w 6577300"/>
                <a:gd name="connsiteY52" fmla="*/ 785405 h 1090812"/>
                <a:gd name="connsiteX53" fmla="*/ 4625604 w 6577300"/>
                <a:gd name="connsiteY53" fmla="*/ 785405 h 1090812"/>
                <a:gd name="connsiteX54" fmla="*/ 4625604 w 6577300"/>
                <a:gd name="connsiteY54" fmla="*/ 1090812 h 1090812"/>
                <a:gd name="connsiteX55" fmla="*/ 4883813 w 6577300"/>
                <a:gd name="connsiteY55" fmla="*/ 1090812 h 1090812"/>
                <a:gd name="connsiteX56" fmla="*/ 4956730 w 6577300"/>
                <a:gd name="connsiteY56" fmla="*/ 1090812 h 1090812"/>
                <a:gd name="connsiteX57" fmla="*/ 5052122 w 6577300"/>
                <a:gd name="connsiteY57" fmla="*/ 1090812 h 1090812"/>
                <a:gd name="connsiteX58" fmla="*/ 5108361 w 6577300"/>
                <a:gd name="connsiteY58" fmla="*/ 1090812 h 1090812"/>
                <a:gd name="connsiteX59" fmla="*/ 6212450 w 6577300"/>
                <a:gd name="connsiteY59" fmla="*/ 1083442 h 1090812"/>
                <a:gd name="connsiteX60" fmla="*/ 6577300 w 6577300"/>
                <a:gd name="connsiteY60" fmla="*/ 1084462 h 1090812"/>
                <a:gd name="connsiteX0" fmla="*/ 0 w 6212450"/>
                <a:gd name="connsiteY0" fmla="*/ 0 h 1090812"/>
                <a:gd name="connsiteX1" fmla="*/ 0 w 6212450"/>
                <a:gd name="connsiteY1" fmla="*/ 0 h 1090812"/>
                <a:gd name="connsiteX2" fmla="*/ 5695 w 6212450"/>
                <a:gd name="connsiteY2" fmla="*/ 0 h 1090812"/>
                <a:gd name="connsiteX3" fmla="*/ 202073 w 6212450"/>
                <a:gd name="connsiteY3" fmla="*/ 0 h 1090812"/>
                <a:gd name="connsiteX4" fmla="*/ 202073 w 6212450"/>
                <a:gd name="connsiteY4" fmla="*/ 60939 h 1090812"/>
                <a:gd name="connsiteX5" fmla="*/ 297567 w 6212450"/>
                <a:gd name="connsiteY5" fmla="*/ 60939 h 1090812"/>
                <a:gd name="connsiteX6" fmla="*/ 370585 w 6212450"/>
                <a:gd name="connsiteY6" fmla="*/ 60939 h 1090812"/>
                <a:gd name="connsiteX7" fmla="*/ 370585 w 6212450"/>
                <a:gd name="connsiteY7" fmla="*/ 123097 h 1090812"/>
                <a:gd name="connsiteX8" fmla="*/ 460282 w 6212450"/>
                <a:gd name="connsiteY8" fmla="*/ 123097 h 1090812"/>
                <a:gd name="connsiteX9" fmla="*/ 460282 w 6212450"/>
                <a:gd name="connsiteY9" fmla="*/ 185357 h 1090812"/>
                <a:gd name="connsiteX10" fmla="*/ 499639 w 6212450"/>
                <a:gd name="connsiteY10" fmla="*/ 185357 h 1090812"/>
                <a:gd name="connsiteX11" fmla="*/ 499639 w 6212450"/>
                <a:gd name="connsiteY11" fmla="*/ 247515 h 1090812"/>
                <a:gd name="connsiteX12" fmla="*/ 920666 w 6212450"/>
                <a:gd name="connsiteY12" fmla="*/ 247515 h 1090812"/>
                <a:gd name="connsiteX13" fmla="*/ 1409017 w 6212450"/>
                <a:gd name="connsiteY13" fmla="*/ 247515 h 1090812"/>
                <a:gd name="connsiteX14" fmla="*/ 1605497 w 6212450"/>
                <a:gd name="connsiteY14" fmla="*/ 247515 h 1090812"/>
                <a:gd name="connsiteX15" fmla="*/ 1605497 w 6212450"/>
                <a:gd name="connsiteY15" fmla="*/ 312821 h 1090812"/>
                <a:gd name="connsiteX16" fmla="*/ 1700889 w 6212450"/>
                <a:gd name="connsiteY16" fmla="*/ 312821 h 1090812"/>
                <a:gd name="connsiteX17" fmla="*/ 2385821 w 6212450"/>
                <a:gd name="connsiteY17" fmla="*/ 312821 h 1090812"/>
                <a:gd name="connsiteX18" fmla="*/ 2397007 w 6212450"/>
                <a:gd name="connsiteY18" fmla="*/ 312821 h 1090812"/>
                <a:gd name="connsiteX19" fmla="*/ 2397007 w 6212450"/>
                <a:gd name="connsiteY19" fmla="*/ 381480 h 1090812"/>
                <a:gd name="connsiteX20" fmla="*/ 2402601 w 6212450"/>
                <a:gd name="connsiteY20" fmla="*/ 381480 h 1090812"/>
                <a:gd name="connsiteX21" fmla="*/ 2408194 w 6212450"/>
                <a:gd name="connsiteY21" fmla="*/ 381480 h 1090812"/>
                <a:gd name="connsiteX22" fmla="*/ 2486806 w 6212450"/>
                <a:gd name="connsiteY22" fmla="*/ 381480 h 1090812"/>
                <a:gd name="connsiteX23" fmla="*/ 2486806 w 6212450"/>
                <a:gd name="connsiteY23" fmla="*/ 454099 h 1090812"/>
                <a:gd name="connsiteX24" fmla="*/ 2812339 w 6212450"/>
                <a:gd name="connsiteY24" fmla="*/ 454099 h 1090812"/>
                <a:gd name="connsiteX25" fmla="*/ 2812339 w 6212450"/>
                <a:gd name="connsiteY25" fmla="*/ 528952 h 1090812"/>
                <a:gd name="connsiteX26" fmla="*/ 2834814 w 6212450"/>
                <a:gd name="connsiteY26" fmla="*/ 528952 h 1090812"/>
                <a:gd name="connsiteX27" fmla="*/ 2834814 w 6212450"/>
                <a:gd name="connsiteY27" fmla="*/ 603806 h 1090812"/>
                <a:gd name="connsiteX28" fmla="*/ 2862883 w 6212450"/>
                <a:gd name="connsiteY28" fmla="*/ 603806 h 1090812"/>
                <a:gd name="connsiteX29" fmla="*/ 2862883 w 6212450"/>
                <a:gd name="connsiteY29" fmla="*/ 678558 h 1090812"/>
                <a:gd name="connsiteX30" fmla="*/ 3070549 w 6212450"/>
                <a:gd name="connsiteY30" fmla="*/ 678558 h 1090812"/>
                <a:gd name="connsiteX31" fmla="*/ 3272723 w 6212450"/>
                <a:gd name="connsiteY31" fmla="*/ 678558 h 1090812"/>
                <a:gd name="connsiteX32" fmla="*/ 3278317 w 6212450"/>
                <a:gd name="connsiteY32" fmla="*/ 678558 h 1090812"/>
                <a:gd name="connsiteX33" fmla="*/ 3283910 w 6212450"/>
                <a:gd name="connsiteY33" fmla="*/ 678558 h 1090812"/>
                <a:gd name="connsiteX34" fmla="*/ 3300792 w 6212450"/>
                <a:gd name="connsiteY34" fmla="*/ 678558 h 1090812"/>
                <a:gd name="connsiteX35" fmla="*/ 3311978 w 6212450"/>
                <a:gd name="connsiteY35" fmla="*/ 678558 h 1090812"/>
                <a:gd name="connsiteX36" fmla="*/ 3334454 w 6212450"/>
                <a:gd name="connsiteY36" fmla="*/ 678558 h 1090812"/>
                <a:gd name="connsiteX37" fmla="*/ 3345742 w 6212450"/>
                <a:gd name="connsiteY37" fmla="*/ 678558 h 1090812"/>
                <a:gd name="connsiteX38" fmla="*/ 3485983 w 6212450"/>
                <a:gd name="connsiteY38" fmla="*/ 678558 h 1090812"/>
                <a:gd name="connsiteX39" fmla="*/ 3704937 w 6212450"/>
                <a:gd name="connsiteY39" fmla="*/ 678558 h 1090812"/>
                <a:gd name="connsiteX40" fmla="*/ 3704937 w 6212450"/>
                <a:gd name="connsiteY40" fmla="*/ 785405 h 1090812"/>
                <a:gd name="connsiteX41" fmla="*/ 3716124 w 6212450"/>
                <a:gd name="connsiteY41" fmla="*/ 785405 h 1090812"/>
                <a:gd name="connsiteX42" fmla="*/ 3777956 w 6212450"/>
                <a:gd name="connsiteY42" fmla="*/ 785405 h 1090812"/>
                <a:gd name="connsiteX43" fmla="*/ 3794736 w 6212450"/>
                <a:gd name="connsiteY43" fmla="*/ 785405 h 1090812"/>
                <a:gd name="connsiteX44" fmla="*/ 3850873 w 6212450"/>
                <a:gd name="connsiteY44" fmla="*/ 785405 h 1090812"/>
                <a:gd name="connsiteX45" fmla="*/ 3862059 w 6212450"/>
                <a:gd name="connsiteY45" fmla="*/ 785405 h 1090812"/>
                <a:gd name="connsiteX46" fmla="*/ 3996808 w 6212450"/>
                <a:gd name="connsiteY46" fmla="*/ 785405 h 1090812"/>
                <a:gd name="connsiteX47" fmla="*/ 4052946 w 6212450"/>
                <a:gd name="connsiteY47" fmla="*/ 785405 h 1090812"/>
                <a:gd name="connsiteX48" fmla="*/ 4064234 w 6212450"/>
                <a:gd name="connsiteY48" fmla="*/ 785405 h 1090812"/>
                <a:gd name="connsiteX49" fmla="*/ 4367394 w 6212450"/>
                <a:gd name="connsiteY49" fmla="*/ 785405 h 1090812"/>
                <a:gd name="connsiteX50" fmla="*/ 4429022 w 6212450"/>
                <a:gd name="connsiteY50" fmla="*/ 785405 h 1090812"/>
                <a:gd name="connsiteX51" fmla="*/ 4451498 w 6212450"/>
                <a:gd name="connsiteY51" fmla="*/ 785405 h 1090812"/>
                <a:gd name="connsiteX52" fmla="*/ 4524516 w 6212450"/>
                <a:gd name="connsiteY52" fmla="*/ 785405 h 1090812"/>
                <a:gd name="connsiteX53" fmla="*/ 4625604 w 6212450"/>
                <a:gd name="connsiteY53" fmla="*/ 785405 h 1090812"/>
                <a:gd name="connsiteX54" fmla="*/ 4625604 w 6212450"/>
                <a:gd name="connsiteY54" fmla="*/ 1090812 h 1090812"/>
                <a:gd name="connsiteX55" fmla="*/ 4883813 w 6212450"/>
                <a:gd name="connsiteY55" fmla="*/ 1090812 h 1090812"/>
                <a:gd name="connsiteX56" fmla="*/ 4956730 w 6212450"/>
                <a:gd name="connsiteY56" fmla="*/ 1090812 h 1090812"/>
                <a:gd name="connsiteX57" fmla="*/ 5052122 w 6212450"/>
                <a:gd name="connsiteY57" fmla="*/ 1090812 h 1090812"/>
                <a:gd name="connsiteX58" fmla="*/ 5108361 w 6212450"/>
                <a:gd name="connsiteY58" fmla="*/ 1090812 h 1090812"/>
                <a:gd name="connsiteX59" fmla="*/ 6212450 w 6212450"/>
                <a:gd name="connsiteY59" fmla="*/ 1083442 h 109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6212450" h="1090812">
                  <a:moveTo>
                    <a:pt x="0" y="0"/>
                  </a:moveTo>
                  <a:lnTo>
                    <a:pt x="0" y="0"/>
                  </a:lnTo>
                  <a:lnTo>
                    <a:pt x="5695" y="0"/>
                  </a:lnTo>
                  <a:lnTo>
                    <a:pt x="202073" y="0"/>
                  </a:lnTo>
                  <a:lnTo>
                    <a:pt x="202073" y="60939"/>
                  </a:lnTo>
                  <a:lnTo>
                    <a:pt x="297567" y="60939"/>
                  </a:lnTo>
                  <a:lnTo>
                    <a:pt x="370585" y="60939"/>
                  </a:lnTo>
                  <a:lnTo>
                    <a:pt x="370585" y="123097"/>
                  </a:lnTo>
                  <a:lnTo>
                    <a:pt x="460282" y="123097"/>
                  </a:lnTo>
                  <a:lnTo>
                    <a:pt x="460282" y="185357"/>
                  </a:lnTo>
                  <a:lnTo>
                    <a:pt x="499639" y="185357"/>
                  </a:lnTo>
                  <a:lnTo>
                    <a:pt x="499639" y="247515"/>
                  </a:lnTo>
                  <a:lnTo>
                    <a:pt x="920666" y="247515"/>
                  </a:lnTo>
                  <a:lnTo>
                    <a:pt x="1409017" y="247515"/>
                  </a:lnTo>
                  <a:lnTo>
                    <a:pt x="1605497" y="247515"/>
                  </a:lnTo>
                  <a:lnTo>
                    <a:pt x="1605497" y="312821"/>
                  </a:lnTo>
                  <a:lnTo>
                    <a:pt x="1700889" y="312821"/>
                  </a:lnTo>
                  <a:lnTo>
                    <a:pt x="2385821" y="312821"/>
                  </a:lnTo>
                  <a:lnTo>
                    <a:pt x="2397007" y="312821"/>
                  </a:lnTo>
                  <a:lnTo>
                    <a:pt x="2397007" y="381480"/>
                  </a:lnTo>
                  <a:lnTo>
                    <a:pt x="2402601" y="381480"/>
                  </a:lnTo>
                  <a:lnTo>
                    <a:pt x="2408194" y="381480"/>
                  </a:lnTo>
                  <a:lnTo>
                    <a:pt x="2486806" y="381480"/>
                  </a:lnTo>
                  <a:lnTo>
                    <a:pt x="2486806" y="454099"/>
                  </a:lnTo>
                  <a:lnTo>
                    <a:pt x="2812339" y="454099"/>
                  </a:lnTo>
                  <a:lnTo>
                    <a:pt x="2812339" y="528952"/>
                  </a:lnTo>
                  <a:lnTo>
                    <a:pt x="2834814" y="528952"/>
                  </a:lnTo>
                  <a:lnTo>
                    <a:pt x="2834814" y="603806"/>
                  </a:lnTo>
                  <a:lnTo>
                    <a:pt x="2862883" y="603806"/>
                  </a:lnTo>
                  <a:lnTo>
                    <a:pt x="2862883" y="678558"/>
                  </a:lnTo>
                  <a:lnTo>
                    <a:pt x="3070549" y="678558"/>
                  </a:lnTo>
                  <a:lnTo>
                    <a:pt x="3272723" y="678558"/>
                  </a:lnTo>
                  <a:lnTo>
                    <a:pt x="3278317" y="678558"/>
                  </a:lnTo>
                  <a:lnTo>
                    <a:pt x="3283910" y="678558"/>
                  </a:lnTo>
                  <a:lnTo>
                    <a:pt x="3300792" y="678558"/>
                  </a:lnTo>
                  <a:lnTo>
                    <a:pt x="3311978" y="678558"/>
                  </a:lnTo>
                  <a:lnTo>
                    <a:pt x="3334454" y="678558"/>
                  </a:lnTo>
                  <a:lnTo>
                    <a:pt x="3345742" y="678558"/>
                  </a:lnTo>
                  <a:lnTo>
                    <a:pt x="3485983" y="678558"/>
                  </a:lnTo>
                  <a:lnTo>
                    <a:pt x="3704937" y="678558"/>
                  </a:lnTo>
                  <a:lnTo>
                    <a:pt x="3704937" y="785405"/>
                  </a:lnTo>
                  <a:lnTo>
                    <a:pt x="3716124" y="785405"/>
                  </a:lnTo>
                  <a:lnTo>
                    <a:pt x="3777956" y="785405"/>
                  </a:lnTo>
                  <a:lnTo>
                    <a:pt x="3794736" y="785405"/>
                  </a:lnTo>
                  <a:lnTo>
                    <a:pt x="3850873" y="785405"/>
                  </a:lnTo>
                  <a:lnTo>
                    <a:pt x="3862059" y="785405"/>
                  </a:lnTo>
                  <a:lnTo>
                    <a:pt x="3996808" y="785405"/>
                  </a:lnTo>
                  <a:lnTo>
                    <a:pt x="4052946" y="785405"/>
                  </a:lnTo>
                  <a:lnTo>
                    <a:pt x="4064234" y="785405"/>
                  </a:lnTo>
                  <a:lnTo>
                    <a:pt x="4367394" y="785405"/>
                  </a:lnTo>
                  <a:lnTo>
                    <a:pt x="4429022" y="785405"/>
                  </a:lnTo>
                  <a:lnTo>
                    <a:pt x="4451498" y="785405"/>
                  </a:lnTo>
                  <a:lnTo>
                    <a:pt x="4524516" y="785405"/>
                  </a:lnTo>
                  <a:lnTo>
                    <a:pt x="4625604" y="785405"/>
                  </a:lnTo>
                  <a:lnTo>
                    <a:pt x="4625604" y="1090812"/>
                  </a:lnTo>
                  <a:lnTo>
                    <a:pt x="4883813" y="1090812"/>
                  </a:lnTo>
                  <a:lnTo>
                    <a:pt x="4956730" y="1090812"/>
                  </a:lnTo>
                  <a:lnTo>
                    <a:pt x="5052122" y="1090812"/>
                  </a:lnTo>
                  <a:lnTo>
                    <a:pt x="5108361" y="1090812"/>
                  </a:lnTo>
                  <a:lnTo>
                    <a:pt x="6212450" y="1083442"/>
                  </a:lnTo>
                </a:path>
              </a:pathLst>
            </a:custGeom>
            <a:noFill/>
            <a:ln w="27051" cap="sq">
              <a:solidFill>
                <a:srgbClr val="4D4D4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66" name="Freeform 101">
              <a:extLst>
                <a:ext uri="{FF2B5EF4-FFF2-40B4-BE49-F238E27FC236}">
                  <a16:creationId xmlns:a16="http://schemas.microsoft.com/office/drawing/2014/main" id="{95324386-2120-183E-1D11-3A4726AE4718}"/>
                </a:ext>
              </a:extLst>
            </p:cNvPr>
            <p:cNvSpPr/>
            <p:nvPr/>
          </p:nvSpPr>
          <p:spPr>
            <a:xfrm>
              <a:off x="8378883" y="2659130"/>
              <a:ext cx="154276" cy="91741"/>
            </a:xfrm>
            <a:custGeom>
              <a:avLst/>
              <a:gdLst>
                <a:gd name="connsiteX0" fmla="*/ 24814 w 132410"/>
                <a:gd name="connsiteY0" fmla="*/ 28540 h 49157"/>
                <a:gd name="connsiteX1" fmla="*/ 24814 w 132410"/>
                <a:gd name="connsiteY1" fmla="*/ 49158 h 49157"/>
                <a:gd name="connsiteX2" fmla="*/ 34577 w 132410"/>
                <a:gd name="connsiteY2" fmla="*/ 49158 h 49157"/>
                <a:gd name="connsiteX3" fmla="*/ 34577 w 132410"/>
                <a:gd name="connsiteY3" fmla="*/ 28540 h 49157"/>
                <a:gd name="connsiteX4" fmla="*/ 59392 w 132410"/>
                <a:gd name="connsiteY4" fmla="*/ 28540 h 49157"/>
                <a:gd name="connsiteX5" fmla="*/ 59392 w 132410"/>
                <a:gd name="connsiteY5" fmla="*/ 20618 h 49157"/>
                <a:gd name="connsiteX6" fmla="*/ 34577 w 132410"/>
                <a:gd name="connsiteY6" fmla="*/ 20618 h 49157"/>
                <a:gd name="connsiteX7" fmla="*/ 34577 w 132410"/>
                <a:gd name="connsiteY7" fmla="*/ 0 h 49157"/>
                <a:gd name="connsiteX8" fmla="*/ 24814 w 132410"/>
                <a:gd name="connsiteY8" fmla="*/ 0 h 49157"/>
                <a:gd name="connsiteX9" fmla="*/ 24814 w 132410"/>
                <a:gd name="connsiteY9" fmla="*/ 20618 h 49157"/>
                <a:gd name="connsiteX10" fmla="*/ 0 w 132410"/>
                <a:gd name="connsiteY10" fmla="*/ 20618 h 49157"/>
                <a:gd name="connsiteX11" fmla="*/ 0 w 132410"/>
                <a:gd name="connsiteY11" fmla="*/ 28540 h 49157"/>
                <a:gd name="connsiteX12" fmla="*/ 24814 w 132410"/>
                <a:gd name="connsiteY12" fmla="*/ 28540 h 49157"/>
                <a:gd name="connsiteX13" fmla="*/ 97833 w 132410"/>
                <a:gd name="connsiteY13" fmla="*/ 28540 h 49157"/>
                <a:gd name="connsiteX14" fmla="*/ 97833 w 132410"/>
                <a:gd name="connsiteY14" fmla="*/ 49158 h 49157"/>
                <a:gd name="connsiteX15" fmla="*/ 107596 w 132410"/>
                <a:gd name="connsiteY15" fmla="*/ 49158 h 49157"/>
                <a:gd name="connsiteX16" fmla="*/ 107596 w 132410"/>
                <a:gd name="connsiteY16" fmla="*/ 28540 h 49157"/>
                <a:gd name="connsiteX17" fmla="*/ 132410 w 132410"/>
                <a:gd name="connsiteY17" fmla="*/ 28540 h 49157"/>
                <a:gd name="connsiteX18" fmla="*/ 132410 w 132410"/>
                <a:gd name="connsiteY18" fmla="*/ 20618 h 49157"/>
                <a:gd name="connsiteX19" fmla="*/ 107596 w 132410"/>
                <a:gd name="connsiteY19" fmla="*/ 20618 h 49157"/>
                <a:gd name="connsiteX20" fmla="*/ 107596 w 132410"/>
                <a:gd name="connsiteY20" fmla="*/ 0 h 49157"/>
                <a:gd name="connsiteX21" fmla="*/ 97833 w 132410"/>
                <a:gd name="connsiteY21" fmla="*/ 0 h 49157"/>
                <a:gd name="connsiteX22" fmla="*/ 97833 w 132410"/>
                <a:gd name="connsiteY22" fmla="*/ 20618 h 49157"/>
                <a:gd name="connsiteX23" fmla="*/ 73019 w 132410"/>
                <a:gd name="connsiteY23" fmla="*/ 20618 h 49157"/>
                <a:gd name="connsiteX24" fmla="*/ 73019 w 132410"/>
                <a:gd name="connsiteY24" fmla="*/ 28540 h 49157"/>
                <a:gd name="connsiteX25" fmla="*/ 97833 w 132410"/>
                <a:gd name="connsiteY25" fmla="*/ 28540 h 4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2410" h="49157">
                  <a:moveTo>
                    <a:pt x="24814" y="28540"/>
                  </a:moveTo>
                  <a:lnTo>
                    <a:pt x="24814" y="49158"/>
                  </a:lnTo>
                  <a:lnTo>
                    <a:pt x="34577" y="49158"/>
                  </a:lnTo>
                  <a:lnTo>
                    <a:pt x="34577" y="28540"/>
                  </a:lnTo>
                  <a:lnTo>
                    <a:pt x="59392" y="28540"/>
                  </a:lnTo>
                  <a:lnTo>
                    <a:pt x="59392" y="20618"/>
                  </a:lnTo>
                  <a:lnTo>
                    <a:pt x="34577" y="20618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618"/>
                  </a:lnTo>
                  <a:lnTo>
                    <a:pt x="0" y="20618"/>
                  </a:lnTo>
                  <a:lnTo>
                    <a:pt x="0" y="28540"/>
                  </a:lnTo>
                  <a:lnTo>
                    <a:pt x="24814" y="28540"/>
                  </a:lnTo>
                  <a:close/>
                  <a:moveTo>
                    <a:pt x="97833" y="28540"/>
                  </a:moveTo>
                  <a:lnTo>
                    <a:pt x="97833" y="49158"/>
                  </a:lnTo>
                  <a:lnTo>
                    <a:pt x="107596" y="49158"/>
                  </a:lnTo>
                  <a:lnTo>
                    <a:pt x="107596" y="28540"/>
                  </a:lnTo>
                  <a:lnTo>
                    <a:pt x="132410" y="28540"/>
                  </a:lnTo>
                  <a:lnTo>
                    <a:pt x="132410" y="20618"/>
                  </a:lnTo>
                  <a:lnTo>
                    <a:pt x="107596" y="20618"/>
                  </a:lnTo>
                  <a:lnTo>
                    <a:pt x="107596" y="0"/>
                  </a:lnTo>
                  <a:lnTo>
                    <a:pt x="97833" y="0"/>
                  </a:lnTo>
                  <a:lnTo>
                    <a:pt x="97833" y="20618"/>
                  </a:lnTo>
                  <a:lnTo>
                    <a:pt x="73019" y="20618"/>
                  </a:lnTo>
                  <a:lnTo>
                    <a:pt x="73019" y="28540"/>
                  </a:lnTo>
                  <a:lnTo>
                    <a:pt x="97833" y="28540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67" name="Freeform 102">
              <a:extLst>
                <a:ext uri="{FF2B5EF4-FFF2-40B4-BE49-F238E27FC236}">
                  <a16:creationId xmlns:a16="http://schemas.microsoft.com/office/drawing/2014/main" id="{450E28E6-AFDF-C184-11EC-F9AC6E3AECD1}"/>
                </a:ext>
              </a:extLst>
            </p:cNvPr>
            <p:cNvSpPr/>
            <p:nvPr/>
          </p:nvSpPr>
          <p:spPr>
            <a:xfrm>
              <a:off x="8576405" y="2659130"/>
              <a:ext cx="134606" cy="91741"/>
            </a:xfrm>
            <a:custGeom>
              <a:avLst/>
              <a:gdLst>
                <a:gd name="connsiteX0" fmla="*/ 24814 w 115528"/>
                <a:gd name="connsiteY0" fmla="*/ 28540 h 49157"/>
                <a:gd name="connsiteX1" fmla="*/ 24814 w 115528"/>
                <a:gd name="connsiteY1" fmla="*/ 49158 h 49157"/>
                <a:gd name="connsiteX2" fmla="*/ 34577 w 115528"/>
                <a:gd name="connsiteY2" fmla="*/ 49158 h 49157"/>
                <a:gd name="connsiteX3" fmla="*/ 34577 w 115528"/>
                <a:gd name="connsiteY3" fmla="*/ 28540 h 49157"/>
                <a:gd name="connsiteX4" fmla="*/ 59392 w 115528"/>
                <a:gd name="connsiteY4" fmla="*/ 28540 h 49157"/>
                <a:gd name="connsiteX5" fmla="*/ 59392 w 115528"/>
                <a:gd name="connsiteY5" fmla="*/ 20618 h 49157"/>
                <a:gd name="connsiteX6" fmla="*/ 34577 w 115528"/>
                <a:gd name="connsiteY6" fmla="*/ 20618 h 49157"/>
                <a:gd name="connsiteX7" fmla="*/ 34577 w 115528"/>
                <a:gd name="connsiteY7" fmla="*/ 0 h 49157"/>
                <a:gd name="connsiteX8" fmla="*/ 24814 w 115528"/>
                <a:gd name="connsiteY8" fmla="*/ 0 h 49157"/>
                <a:gd name="connsiteX9" fmla="*/ 24814 w 115528"/>
                <a:gd name="connsiteY9" fmla="*/ 20618 h 49157"/>
                <a:gd name="connsiteX10" fmla="*/ 0 w 115528"/>
                <a:gd name="connsiteY10" fmla="*/ 20618 h 49157"/>
                <a:gd name="connsiteX11" fmla="*/ 0 w 115528"/>
                <a:gd name="connsiteY11" fmla="*/ 28540 h 49157"/>
                <a:gd name="connsiteX12" fmla="*/ 24814 w 115528"/>
                <a:gd name="connsiteY12" fmla="*/ 28540 h 49157"/>
                <a:gd name="connsiteX13" fmla="*/ 80951 w 115528"/>
                <a:gd name="connsiteY13" fmla="*/ 28540 h 49157"/>
                <a:gd name="connsiteX14" fmla="*/ 80951 w 115528"/>
                <a:gd name="connsiteY14" fmla="*/ 49158 h 49157"/>
                <a:gd name="connsiteX15" fmla="*/ 90714 w 115528"/>
                <a:gd name="connsiteY15" fmla="*/ 49158 h 49157"/>
                <a:gd name="connsiteX16" fmla="*/ 90714 w 115528"/>
                <a:gd name="connsiteY16" fmla="*/ 28540 h 49157"/>
                <a:gd name="connsiteX17" fmla="*/ 115528 w 115528"/>
                <a:gd name="connsiteY17" fmla="*/ 28540 h 49157"/>
                <a:gd name="connsiteX18" fmla="*/ 115528 w 115528"/>
                <a:gd name="connsiteY18" fmla="*/ 20618 h 49157"/>
                <a:gd name="connsiteX19" fmla="*/ 90714 w 115528"/>
                <a:gd name="connsiteY19" fmla="*/ 20618 h 49157"/>
                <a:gd name="connsiteX20" fmla="*/ 90714 w 115528"/>
                <a:gd name="connsiteY20" fmla="*/ 0 h 49157"/>
                <a:gd name="connsiteX21" fmla="*/ 80951 w 115528"/>
                <a:gd name="connsiteY21" fmla="*/ 0 h 49157"/>
                <a:gd name="connsiteX22" fmla="*/ 80951 w 115528"/>
                <a:gd name="connsiteY22" fmla="*/ 20618 h 49157"/>
                <a:gd name="connsiteX23" fmla="*/ 56137 w 115528"/>
                <a:gd name="connsiteY23" fmla="*/ 20618 h 49157"/>
                <a:gd name="connsiteX24" fmla="*/ 56137 w 115528"/>
                <a:gd name="connsiteY24" fmla="*/ 28540 h 49157"/>
                <a:gd name="connsiteX25" fmla="*/ 80951 w 115528"/>
                <a:gd name="connsiteY25" fmla="*/ 28540 h 4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528" h="49157">
                  <a:moveTo>
                    <a:pt x="24814" y="28540"/>
                  </a:moveTo>
                  <a:lnTo>
                    <a:pt x="24814" y="49158"/>
                  </a:lnTo>
                  <a:lnTo>
                    <a:pt x="34577" y="49158"/>
                  </a:lnTo>
                  <a:lnTo>
                    <a:pt x="34577" y="28540"/>
                  </a:lnTo>
                  <a:lnTo>
                    <a:pt x="59392" y="28540"/>
                  </a:lnTo>
                  <a:lnTo>
                    <a:pt x="59392" y="20618"/>
                  </a:lnTo>
                  <a:lnTo>
                    <a:pt x="34577" y="20618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618"/>
                  </a:lnTo>
                  <a:lnTo>
                    <a:pt x="0" y="20618"/>
                  </a:lnTo>
                  <a:lnTo>
                    <a:pt x="0" y="28540"/>
                  </a:lnTo>
                  <a:lnTo>
                    <a:pt x="24814" y="28540"/>
                  </a:lnTo>
                  <a:close/>
                  <a:moveTo>
                    <a:pt x="80951" y="28540"/>
                  </a:moveTo>
                  <a:lnTo>
                    <a:pt x="80951" y="49158"/>
                  </a:lnTo>
                  <a:lnTo>
                    <a:pt x="90714" y="49158"/>
                  </a:lnTo>
                  <a:lnTo>
                    <a:pt x="90714" y="28540"/>
                  </a:lnTo>
                  <a:lnTo>
                    <a:pt x="115528" y="28540"/>
                  </a:lnTo>
                  <a:lnTo>
                    <a:pt x="115528" y="20618"/>
                  </a:lnTo>
                  <a:lnTo>
                    <a:pt x="90714" y="20618"/>
                  </a:lnTo>
                  <a:lnTo>
                    <a:pt x="90714" y="0"/>
                  </a:lnTo>
                  <a:lnTo>
                    <a:pt x="80951" y="0"/>
                  </a:lnTo>
                  <a:lnTo>
                    <a:pt x="80951" y="20618"/>
                  </a:lnTo>
                  <a:lnTo>
                    <a:pt x="56137" y="20618"/>
                  </a:lnTo>
                  <a:lnTo>
                    <a:pt x="56137" y="28540"/>
                  </a:lnTo>
                  <a:lnTo>
                    <a:pt x="80951" y="28540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68" name="Freeform 103">
              <a:extLst>
                <a:ext uri="{FF2B5EF4-FFF2-40B4-BE49-F238E27FC236}">
                  <a16:creationId xmlns:a16="http://schemas.microsoft.com/office/drawing/2014/main" id="{45D8AD14-FC9E-DE6E-4DB7-530598D25380}"/>
                </a:ext>
              </a:extLst>
            </p:cNvPr>
            <p:cNvSpPr/>
            <p:nvPr/>
          </p:nvSpPr>
          <p:spPr>
            <a:xfrm>
              <a:off x="10016369" y="2653212"/>
              <a:ext cx="69198" cy="91741"/>
            </a:xfrm>
            <a:custGeom>
              <a:avLst/>
              <a:gdLst>
                <a:gd name="connsiteX0" fmla="*/ 24814 w 59390"/>
                <a:gd name="connsiteY0" fmla="*/ 28642 h 49157"/>
                <a:gd name="connsiteX1" fmla="*/ 24814 w 59390"/>
                <a:gd name="connsiteY1" fmla="*/ 49158 h 49157"/>
                <a:gd name="connsiteX2" fmla="*/ 34577 w 59390"/>
                <a:gd name="connsiteY2" fmla="*/ 49158 h 49157"/>
                <a:gd name="connsiteX3" fmla="*/ 34577 w 59390"/>
                <a:gd name="connsiteY3" fmla="*/ 28642 h 49157"/>
                <a:gd name="connsiteX4" fmla="*/ 59391 w 59390"/>
                <a:gd name="connsiteY4" fmla="*/ 28642 h 49157"/>
                <a:gd name="connsiteX5" fmla="*/ 59391 w 59390"/>
                <a:gd name="connsiteY5" fmla="*/ 20719 h 49157"/>
                <a:gd name="connsiteX6" fmla="*/ 34577 w 59390"/>
                <a:gd name="connsiteY6" fmla="*/ 20719 h 49157"/>
                <a:gd name="connsiteX7" fmla="*/ 34577 w 59390"/>
                <a:gd name="connsiteY7" fmla="*/ 0 h 49157"/>
                <a:gd name="connsiteX8" fmla="*/ 24814 w 59390"/>
                <a:gd name="connsiteY8" fmla="*/ 0 h 49157"/>
                <a:gd name="connsiteX9" fmla="*/ 24814 w 59390"/>
                <a:gd name="connsiteY9" fmla="*/ 20719 h 49157"/>
                <a:gd name="connsiteX10" fmla="*/ 0 w 59390"/>
                <a:gd name="connsiteY10" fmla="*/ 20719 h 49157"/>
                <a:gd name="connsiteX11" fmla="*/ 0 w 59390"/>
                <a:gd name="connsiteY11" fmla="*/ 28642 h 49157"/>
                <a:gd name="connsiteX12" fmla="*/ 24814 w 59390"/>
                <a:gd name="connsiteY12" fmla="*/ 28642 h 49157"/>
                <a:gd name="connsiteX13" fmla="*/ 24814 w 59390"/>
                <a:gd name="connsiteY13" fmla="*/ 28642 h 4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0" h="49157">
                  <a:moveTo>
                    <a:pt x="24814" y="28642"/>
                  </a:moveTo>
                  <a:lnTo>
                    <a:pt x="24814" y="49158"/>
                  </a:lnTo>
                  <a:lnTo>
                    <a:pt x="34577" y="49158"/>
                  </a:lnTo>
                  <a:lnTo>
                    <a:pt x="34577" y="28642"/>
                  </a:lnTo>
                  <a:lnTo>
                    <a:pt x="59391" y="28642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2"/>
                  </a:lnTo>
                  <a:lnTo>
                    <a:pt x="24814" y="28642"/>
                  </a:lnTo>
                  <a:lnTo>
                    <a:pt x="24814" y="28642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94" name="Freeform 97">
              <a:extLst>
                <a:ext uri="{FF2B5EF4-FFF2-40B4-BE49-F238E27FC236}">
                  <a16:creationId xmlns:a16="http://schemas.microsoft.com/office/drawing/2014/main" id="{5D82AC7B-C699-A321-81DB-D81088D62F69}"/>
                </a:ext>
              </a:extLst>
            </p:cNvPr>
            <p:cNvSpPr/>
            <p:nvPr/>
          </p:nvSpPr>
          <p:spPr>
            <a:xfrm>
              <a:off x="7378654" y="2365643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95" name="Freeform 99">
              <a:extLst>
                <a:ext uri="{FF2B5EF4-FFF2-40B4-BE49-F238E27FC236}">
                  <a16:creationId xmlns:a16="http://schemas.microsoft.com/office/drawing/2014/main" id="{82A23EED-1F74-DB3F-61F9-E5AF3AA601C5}"/>
                </a:ext>
              </a:extLst>
            </p:cNvPr>
            <p:cNvSpPr/>
            <p:nvPr/>
          </p:nvSpPr>
          <p:spPr>
            <a:xfrm>
              <a:off x="7816834" y="2365643"/>
              <a:ext cx="69317" cy="101363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96" name="Freeform 100">
              <a:extLst>
                <a:ext uri="{FF2B5EF4-FFF2-40B4-BE49-F238E27FC236}">
                  <a16:creationId xmlns:a16="http://schemas.microsoft.com/office/drawing/2014/main" id="{41C5896E-7961-2F25-D612-6B5E127358B5}"/>
                </a:ext>
              </a:extLst>
            </p:cNvPr>
            <p:cNvSpPr/>
            <p:nvPr/>
          </p:nvSpPr>
          <p:spPr>
            <a:xfrm>
              <a:off x="7843020" y="2368602"/>
              <a:ext cx="154276" cy="101152"/>
            </a:xfrm>
            <a:custGeom>
              <a:avLst/>
              <a:gdLst>
                <a:gd name="connsiteX0" fmla="*/ 24814 w 132410"/>
                <a:gd name="connsiteY0" fmla="*/ 28540 h 49157"/>
                <a:gd name="connsiteX1" fmla="*/ 24814 w 132410"/>
                <a:gd name="connsiteY1" fmla="*/ 49158 h 49157"/>
                <a:gd name="connsiteX2" fmla="*/ 34577 w 132410"/>
                <a:gd name="connsiteY2" fmla="*/ 49158 h 49157"/>
                <a:gd name="connsiteX3" fmla="*/ 34577 w 132410"/>
                <a:gd name="connsiteY3" fmla="*/ 28540 h 49157"/>
                <a:gd name="connsiteX4" fmla="*/ 59392 w 132410"/>
                <a:gd name="connsiteY4" fmla="*/ 28540 h 49157"/>
                <a:gd name="connsiteX5" fmla="*/ 59392 w 132410"/>
                <a:gd name="connsiteY5" fmla="*/ 20618 h 49157"/>
                <a:gd name="connsiteX6" fmla="*/ 34577 w 132410"/>
                <a:gd name="connsiteY6" fmla="*/ 20618 h 49157"/>
                <a:gd name="connsiteX7" fmla="*/ 34577 w 132410"/>
                <a:gd name="connsiteY7" fmla="*/ 0 h 49157"/>
                <a:gd name="connsiteX8" fmla="*/ 24814 w 132410"/>
                <a:gd name="connsiteY8" fmla="*/ 0 h 49157"/>
                <a:gd name="connsiteX9" fmla="*/ 24814 w 132410"/>
                <a:gd name="connsiteY9" fmla="*/ 20618 h 49157"/>
                <a:gd name="connsiteX10" fmla="*/ 0 w 132410"/>
                <a:gd name="connsiteY10" fmla="*/ 20618 h 49157"/>
                <a:gd name="connsiteX11" fmla="*/ 0 w 132410"/>
                <a:gd name="connsiteY11" fmla="*/ 28540 h 49157"/>
                <a:gd name="connsiteX12" fmla="*/ 24814 w 132410"/>
                <a:gd name="connsiteY12" fmla="*/ 28540 h 49157"/>
                <a:gd name="connsiteX13" fmla="*/ 97833 w 132410"/>
                <a:gd name="connsiteY13" fmla="*/ 28540 h 49157"/>
                <a:gd name="connsiteX14" fmla="*/ 97833 w 132410"/>
                <a:gd name="connsiteY14" fmla="*/ 49158 h 49157"/>
                <a:gd name="connsiteX15" fmla="*/ 107596 w 132410"/>
                <a:gd name="connsiteY15" fmla="*/ 49158 h 49157"/>
                <a:gd name="connsiteX16" fmla="*/ 107596 w 132410"/>
                <a:gd name="connsiteY16" fmla="*/ 28540 h 49157"/>
                <a:gd name="connsiteX17" fmla="*/ 132410 w 132410"/>
                <a:gd name="connsiteY17" fmla="*/ 28540 h 49157"/>
                <a:gd name="connsiteX18" fmla="*/ 132410 w 132410"/>
                <a:gd name="connsiteY18" fmla="*/ 20618 h 49157"/>
                <a:gd name="connsiteX19" fmla="*/ 107596 w 132410"/>
                <a:gd name="connsiteY19" fmla="*/ 20618 h 49157"/>
                <a:gd name="connsiteX20" fmla="*/ 107596 w 132410"/>
                <a:gd name="connsiteY20" fmla="*/ 0 h 49157"/>
                <a:gd name="connsiteX21" fmla="*/ 97833 w 132410"/>
                <a:gd name="connsiteY21" fmla="*/ 0 h 49157"/>
                <a:gd name="connsiteX22" fmla="*/ 97833 w 132410"/>
                <a:gd name="connsiteY22" fmla="*/ 20618 h 49157"/>
                <a:gd name="connsiteX23" fmla="*/ 73019 w 132410"/>
                <a:gd name="connsiteY23" fmla="*/ 20618 h 49157"/>
                <a:gd name="connsiteX24" fmla="*/ 73019 w 132410"/>
                <a:gd name="connsiteY24" fmla="*/ 28540 h 49157"/>
                <a:gd name="connsiteX25" fmla="*/ 97833 w 132410"/>
                <a:gd name="connsiteY25" fmla="*/ 28540 h 4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2410" h="49157">
                  <a:moveTo>
                    <a:pt x="24814" y="28540"/>
                  </a:moveTo>
                  <a:lnTo>
                    <a:pt x="24814" y="49158"/>
                  </a:lnTo>
                  <a:lnTo>
                    <a:pt x="34577" y="49158"/>
                  </a:lnTo>
                  <a:lnTo>
                    <a:pt x="34577" y="28540"/>
                  </a:lnTo>
                  <a:lnTo>
                    <a:pt x="59392" y="28540"/>
                  </a:lnTo>
                  <a:lnTo>
                    <a:pt x="59392" y="20618"/>
                  </a:lnTo>
                  <a:lnTo>
                    <a:pt x="34577" y="20618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618"/>
                  </a:lnTo>
                  <a:lnTo>
                    <a:pt x="0" y="20618"/>
                  </a:lnTo>
                  <a:lnTo>
                    <a:pt x="0" y="28540"/>
                  </a:lnTo>
                  <a:lnTo>
                    <a:pt x="24814" y="28540"/>
                  </a:lnTo>
                  <a:close/>
                  <a:moveTo>
                    <a:pt x="97833" y="28540"/>
                  </a:moveTo>
                  <a:lnTo>
                    <a:pt x="97833" y="49158"/>
                  </a:lnTo>
                  <a:lnTo>
                    <a:pt x="107596" y="49158"/>
                  </a:lnTo>
                  <a:lnTo>
                    <a:pt x="107596" y="28540"/>
                  </a:lnTo>
                  <a:lnTo>
                    <a:pt x="132410" y="28540"/>
                  </a:lnTo>
                  <a:lnTo>
                    <a:pt x="132410" y="20618"/>
                  </a:lnTo>
                  <a:lnTo>
                    <a:pt x="107596" y="20618"/>
                  </a:lnTo>
                  <a:lnTo>
                    <a:pt x="107596" y="0"/>
                  </a:lnTo>
                  <a:lnTo>
                    <a:pt x="97833" y="0"/>
                  </a:lnTo>
                  <a:lnTo>
                    <a:pt x="97833" y="20618"/>
                  </a:lnTo>
                  <a:lnTo>
                    <a:pt x="73019" y="20618"/>
                  </a:lnTo>
                  <a:lnTo>
                    <a:pt x="73019" y="28540"/>
                  </a:lnTo>
                  <a:lnTo>
                    <a:pt x="97833" y="28540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97" name="Freeform 97">
              <a:extLst>
                <a:ext uri="{FF2B5EF4-FFF2-40B4-BE49-F238E27FC236}">
                  <a16:creationId xmlns:a16="http://schemas.microsoft.com/office/drawing/2014/main" id="{1D1F65B7-0285-D083-375C-E7EF83E5B06B}"/>
                </a:ext>
              </a:extLst>
            </p:cNvPr>
            <p:cNvSpPr/>
            <p:nvPr/>
          </p:nvSpPr>
          <p:spPr>
            <a:xfrm>
              <a:off x="7356457" y="2368602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98" name="Freeform 97">
              <a:extLst>
                <a:ext uri="{FF2B5EF4-FFF2-40B4-BE49-F238E27FC236}">
                  <a16:creationId xmlns:a16="http://schemas.microsoft.com/office/drawing/2014/main" id="{0C639FF9-491C-F08B-983D-0F340D89D18E}"/>
                </a:ext>
              </a:extLst>
            </p:cNvPr>
            <p:cNvSpPr/>
            <p:nvPr/>
          </p:nvSpPr>
          <p:spPr>
            <a:xfrm>
              <a:off x="7285529" y="2368602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99" name="Freeform 97">
              <a:extLst>
                <a:ext uri="{FF2B5EF4-FFF2-40B4-BE49-F238E27FC236}">
                  <a16:creationId xmlns:a16="http://schemas.microsoft.com/office/drawing/2014/main" id="{1E246B1F-75A1-AA20-D0FE-2810E92643BB}"/>
                </a:ext>
              </a:extLst>
            </p:cNvPr>
            <p:cNvSpPr/>
            <p:nvPr/>
          </p:nvSpPr>
          <p:spPr>
            <a:xfrm>
              <a:off x="7120202" y="2365643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0" name="Freeform 97">
              <a:extLst>
                <a:ext uri="{FF2B5EF4-FFF2-40B4-BE49-F238E27FC236}">
                  <a16:creationId xmlns:a16="http://schemas.microsoft.com/office/drawing/2014/main" id="{1A7E17AB-923F-EFAB-1E71-0D1D76ABD9B2}"/>
                </a:ext>
              </a:extLst>
            </p:cNvPr>
            <p:cNvSpPr/>
            <p:nvPr/>
          </p:nvSpPr>
          <p:spPr>
            <a:xfrm>
              <a:off x="7105185" y="2365643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1" name="Freeform 97">
              <a:extLst>
                <a:ext uri="{FF2B5EF4-FFF2-40B4-BE49-F238E27FC236}">
                  <a16:creationId xmlns:a16="http://schemas.microsoft.com/office/drawing/2014/main" id="{D46FA34E-1C3E-8D93-E402-06507E75D7BF}"/>
                </a:ext>
              </a:extLst>
            </p:cNvPr>
            <p:cNvSpPr/>
            <p:nvPr/>
          </p:nvSpPr>
          <p:spPr>
            <a:xfrm>
              <a:off x="7041417" y="2365643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2" name="Freeform 97">
              <a:extLst>
                <a:ext uri="{FF2B5EF4-FFF2-40B4-BE49-F238E27FC236}">
                  <a16:creationId xmlns:a16="http://schemas.microsoft.com/office/drawing/2014/main" id="{47C6F092-A870-787B-E96A-9334CEEF0721}"/>
                </a:ext>
              </a:extLst>
            </p:cNvPr>
            <p:cNvSpPr/>
            <p:nvPr/>
          </p:nvSpPr>
          <p:spPr>
            <a:xfrm>
              <a:off x="7013782" y="2365643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3" name="Freeform 97">
              <a:extLst>
                <a:ext uri="{FF2B5EF4-FFF2-40B4-BE49-F238E27FC236}">
                  <a16:creationId xmlns:a16="http://schemas.microsoft.com/office/drawing/2014/main" id="{F50C34E7-49D3-2BA0-7BFD-DB4EE99CE69E}"/>
                </a:ext>
              </a:extLst>
            </p:cNvPr>
            <p:cNvSpPr/>
            <p:nvPr/>
          </p:nvSpPr>
          <p:spPr>
            <a:xfrm>
              <a:off x="6936502" y="2365643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4" name="Freeform 97">
              <a:extLst>
                <a:ext uri="{FF2B5EF4-FFF2-40B4-BE49-F238E27FC236}">
                  <a16:creationId xmlns:a16="http://schemas.microsoft.com/office/drawing/2014/main" id="{10F45143-82C2-A276-0BBE-26055F347657}"/>
                </a:ext>
              </a:extLst>
            </p:cNvPr>
            <p:cNvSpPr/>
            <p:nvPr/>
          </p:nvSpPr>
          <p:spPr>
            <a:xfrm>
              <a:off x="7739511" y="2368602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5" name="Freeform 97">
              <a:extLst>
                <a:ext uri="{FF2B5EF4-FFF2-40B4-BE49-F238E27FC236}">
                  <a16:creationId xmlns:a16="http://schemas.microsoft.com/office/drawing/2014/main" id="{D881964A-8E57-7C97-6413-67B47F55631A}"/>
                </a:ext>
              </a:extLst>
            </p:cNvPr>
            <p:cNvSpPr/>
            <p:nvPr/>
          </p:nvSpPr>
          <p:spPr>
            <a:xfrm>
              <a:off x="6655386" y="2267361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6" name="Freeform 97">
              <a:extLst>
                <a:ext uri="{FF2B5EF4-FFF2-40B4-BE49-F238E27FC236}">
                  <a16:creationId xmlns:a16="http://schemas.microsoft.com/office/drawing/2014/main" id="{DEF1858A-BD1E-9A4F-350F-1EEC2B4A6C7D}"/>
                </a:ext>
              </a:extLst>
            </p:cNvPr>
            <p:cNvSpPr/>
            <p:nvPr/>
          </p:nvSpPr>
          <p:spPr>
            <a:xfrm>
              <a:off x="6482940" y="2267361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7" name="Freeform 97">
              <a:extLst>
                <a:ext uri="{FF2B5EF4-FFF2-40B4-BE49-F238E27FC236}">
                  <a16:creationId xmlns:a16="http://schemas.microsoft.com/office/drawing/2014/main" id="{77F0DCCD-7DFE-DA95-0B03-2D95F7C03342}"/>
                </a:ext>
              </a:extLst>
            </p:cNvPr>
            <p:cNvSpPr/>
            <p:nvPr/>
          </p:nvSpPr>
          <p:spPr>
            <a:xfrm>
              <a:off x="6145714" y="2267361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8" name="Freeform 97">
              <a:extLst>
                <a:ext uri="{FF2B5EF4-FFF2-40B4-BE49-F238E27FC236}">
                  <a16:creationId xmlns:a16="http://schemas.microsoft.com/office/drawing/2014/main" id="{D1F93463-BFF3-195E-3CA7-F8F6098722B0}"/>
                </a:ext>
              </a:extLst>
            </p:cNvPr>
            <p:cNvSpPr/>
            <p:nvPr/>
          </p:nvSpPr>
          <p:spPr>
            <a:xfrm>
              <a:off x="6390042" y="2267361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09" name="Freeform 97">
              <a:extLst>
                <a:ext uri="{FF2B5EF4-FFF2-40B4-BE49-F238E27FC236}">
                  <a16:creationId xmlns:a16="http://schemas.microsoft.com/office/drawing/2014/main" id="{64CD4E7D-D0D5-376A-4541-CC62115DAB75}"/>
                </a:ext>
              </a:extLst>
            </p:cNvPr>
            <p:cNvSpPr/>
            <p:nvPr/>
          </p:nvSpPr>
          <p:spPr>
            <a:xfrm>
              <a:off x="6406967" y="2267361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0" name="Freeform 97">
              <a:extLst>
                <a:ext uri="{FF2B5EF4-FFF2-40B4-BE49-F238E27FC236}">
                  <a16:creationId xmlns:a16="http://schemas.microsoft.com/office/drawing/2014/main" id="{3B9F4F26-B234-6476-4C04-51484B6DB29B}"/>
                </a:ext>
              </a:extLst>
            </p:cNvPr>
            <p:cNvSpPr/>
            <p:nvPr/>
          </p:nvSpPr>
          <p:spPr>
            <a:xfrm>
              <a:off x="6434092" y="2267361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1" name="Freeform 97">
              <a:extLst>
                <a:ext uri="{FF2B5EF4-FFF2-40B4-BE49-F238E27FC236}">
                  <a16:creationId xmlns:a16="http://schemas.microsoft.com/office/drawing/2014/main" id="{C2E420EC-3D30-0E3A-00D0-15492F3399AF}"/>
                </a:ext>
              </a:extLst>
            </p:cNvPr>
            <p:cNvSpPr/>
            <p:nvPr/>
          </p:nvSpPr>
          <p:spPr>
            <a:xfrm>
              <a:off x="6441566" y="2267361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2" name="Freeform 97">
              <a:extLst>
                <a:ext uri="{FF2B5EF4-FFF2-40B4-BE49-F238E27FC236}">
                  <a16:creationId xmlns:a16="http://schemas.microsoft.com/office/drawing/2014/main" id="{931915AD-D0CF-713F-EB21-60994B321119}"/>
                </a:ext>
              </a:extLst>
            </p:cNvPr>
            <p:cNvSpPr/>
            <p:nvPr/>
          </p:nvSpPr>
          <p:spPr>
            <a:xfrm>
              <a:off x="6470239" y="2267361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3" name="Freeform 97">
              <a:extLst>
                <a:ext uri="{FF2B5EF4-FFF2-40B4-BE49-F238E27FC236}">
                  <a16:creationId xmlns:a16="http://schemas.microsoft.com/office/drawing/2014/main" id="{A8659119-07C4-0477-6188-7C10BF08B71B}"/>
                </a:ext>
              </a:extLst>
            </p:cNvPr>
            <p:cNvSpPr/>
            <p:nvPr/>
          </p:nvSpPr>
          <p:spPr>
            <a:xfrm>
              <a:off x="5425589" y="2053488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4" name="Freeform 97">
              <a:extLst>
                <a:ext uri="{FF2B5EF4-FFF2-40B4-BE49-F238E27FC236}">
                  <a16:creationId xmlns:a16="http://schemas.microsoft.com/office/drawing/2014/main" id="{C4919C06-CD21-10D9-6523-C7098E278632}"/>
                </a:ext>
              </a:extLst>
            </p:cNvPr>
            <p:cNvSpPr/>
            <p:nvPr/>
          </p:nvSpPr>
          <p:spPr>
            <a:xfrm>
              <a:off x="5322342" y="1990056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5" name="Freeform 97">
              <a:extLst>
                <a:ext uri="{FF2B5EF4-FFF2-40B4-BE49-F238E27FC236}">
                  <a16:creationId xmlns:a16="http://schemas.microsoft.com/office/drawing/2014/main" id="{B9D6C39B-34A1-5B48-83F0-264AA5881C59}"/>
                </a:ext>
              </a:extLst>
            </p:cNvPr>
            <p:cNvSpPr/>
            <p:nvPr/>
          </p:nvSpPr>
          <p:spPr>
            <a:xfrm>
              <a:off x="5308056" y="1924273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6" name="Freeform 97">
              <a:extLst>
                <a:ext uri="{FF2B5EF4-FFF2-40B4-BE49-F238E27FC236}">
                  <a16:creationId xmlns:a16="http://schemas.microsoft.com/office/drawing/2014/main" id="{FB512A5C-22EB-F029-724A-3B52E9CBB5BE}"/>
                </a:ext>
              </a:extLst>
            </p:cNvPr>
            <p:cNvSpPr/>
            <p:nvPr/>
          </p:nvSpPr>
          <p:spPr>
            <a:xfrm>
              <a:off x="4457549" y="1924273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7" name="Freeform 97">
              <a:extLst>
                <a:ext uri="{FF2B5EF4-FFF2-40B4-BE49-F238E27FC236}">
                  <a16:creationId xmlns:a16="http://schemas.microsoft.com/office/drawing/2014/main" id="{39293E81-C8C1-9ACC-5FBD-1FF5C31D5BDA}"/>
                </a:ext>
              </a:extLst>
            </p:cNvPr>
            <p:cNvSpPr/>
            <p:nvPr/>
          </p:nvSpPr>
          <p:spPr>
            <a:xfrm>
              <a:off x="4106616" y="1862360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8" name="Freeform 97">
              <a:extLst>
                <a:ext uri="{FF2B5EF4-FFF2-40B4-BE49-F238E27FC236}">
                  <a16:creationId xmlns:a16="http://schemas.microsoft.com/office/drawing/2014/main" id="{3578C3C6-FCA2-48CD-729A-921BE37910A2}"/>
                </a:ext>
              </a:extLst>
            </p:cNvPr>
            <p:cNvSpPr/>
            <p:nvPr/>
          </p:nvSpPr>
          <p:spPr>
            <a:xfrm>
              <a:off x="3501406" y="1862360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9" name="Freeform 97">
              <a:extLst>
                <a:ext uri="{FF2B5EF4-FFF2-40B4-BE49-F238E27FC236}">
                  <a16:creationId xmlns:a16="http://schemas.microsoft.com/office/drawing/2014/main" id="{B4E9490B-7980-858C-C4A1-ED7B6F39016A}"/>
                </a:ext>
              </a:extLst>
            </p:cNvPr>
            <p:cNvSpPr/>
            <p:nvPr/>
          </p:nvSpPr>
          <p:spPr>
            <a:xfrm>
              <a:off x="2729471" y="1690910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20" name="Freeform 97">
              <a:extLst>
                <a:ext uri="{FF2B5EF4-FFF2-40B4-BE49-F238E27FC236}">
                  <a16:creationId xmlns:a16="http://schemas.microsoft.com/office/drawing/2014/main" id="{43E4B160-3AC2-303A-74FD-37C7E86A2CD1}"/>
                </a:ext>
              </a:extLst>
            </p:cNvPr>
            <p:cNvSpPr/>
            <p:nvPr/>
          </p:nvSpPr>
          <p:spPr>
            <a:xfrm>
              <a:off x="2369599" y="1626614"/>
              <a:ext cx="69199" cy="101363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2 w 59391"/>
                <a:gd name="connsiteY4" fmla="*/ 28641 h 49259"/>
                <a:gd name="connsiteX5" fmla="*/ 59392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2" y="28641"/>
                  </a:lnTo>
                  <a:lnTo>
                    <a:pt x="59392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4D4D4F"/>
            </a:solidFill>
            <a:ln w="10165" cap="flat">
              <a:solidFill>
                <a:srgbClr val="4D4D4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aphicFrame>
        <p:nvGraphicFramePr>
          <p:cNvPr id="321" name="Table 69">
            <a:extLst>
              <a:ext uri="{FF2B5EF4-FFF2-40B4-BE49-F238E27FC236}">
                <a16:creationId xmlns:a16="http://schemas.microsoft.com/office/drawing/2014/main" id="{6DDAABE4-510D-397B-DC5E-4764E55CA8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059488"/>
              </p:ext>
            </p:extLst>
          </p:nvPr>
        </p:nvGraphicFramePr>
        <p:xfrm>
          <a:off x="6450581" y="3248256"/>
          <a:ext cx="3922776" cy="1013919"/>
        </p:xfrm>
        <a:graphic>
          <a:graphicData uri="http://schemas.openxmlformats.org/drawingml/2006/table">
            <a:tbl>
              <a:tblPr firstRow="1" bandRow="1"/>
              <a:tblGrid>
                <a:gridCol w="1468706">
                  <a:extLst>
                    <a:ext uri="{9D8B030D-6E8A-4147-A177-3AD203B41FA5}">
                      <a16:colId xmlns:a16="http://schemas.microsoft.com/office/drawing/2014/main" val="3755775968"/>
                    </a:ext>
                  </a:extLst>
                </a:gridCol>
                <a:gridCol w="964096">
                  <a:extLst>
                    <a:ext uri="{9D8B030D-6E8A-4147-A177-3AD203B41FA5}">
                      <a16:colId xmlns:a16="http://schemas.microsoft.com/office/drawing/2014/main" val="2248379276"/>
                    </a:ext>
                  </a:extLst>
                </a:gridCol>
                <a:gridCol w="1489974">
                  <a:extLst>
                    <a:ext uri="{9D8B030D-6E8A-4147-A177-3AD203B41FA5}">
                      <a16:colId xmlns:a16="http://schemas.microsoft.com/office/drawing/2014/main" val="3244896206"/>
                    </a:ext>
                  </a:extLst>
                </a:gridCol>
              </a:tblGrid>
              <a:tr h="3231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endParaRPr lang="en-US" sz="1000" dirty="0">
                        <a:latin typeface="+mn-lt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Events, </a:t>
                      </a:r>
                      <a:br>
                        <a:rPr lang="en-US" sz="1000" b="1" dirty="0">
                          <a:latin typeface="+mn-lt"/>
                        </a:rPr>
                      </a:br>
                      <a:r>
                        <a:rPr lang="en-US" sz="1000" b="1" dirty="0">
                          <a:latin typeface="+mn-lt"/>
                        </a:rPr>
                        <a:t>% (n/N)</a:t>
                      </a:r>
                      <a:endParaRPr lang="en-US" sz="1000" b="1" dirty="0">
                        <a:latin typeface="+mn-lt"/>
                        <a:cs typeface="Helvetica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Hazard Ratio </a:t>
                      </a:r>
                      <a:br>
                        <a:rPr lang="en-US" sz="1000" b="1" dirty="0">
                          <a:latin typeface="+mn-lt"/>
                        </a:rPr>
                      </a:br>
                      <a:r>
                        <a:rPr lang="en-US" sz="1000" b="1" dirty="0">
                          <a:latin typeface="+mn-lt"/>
                        </a:rPr>
                        <a:t>(95% CI)</a:t>
                      </a:r>
                      <a:r>
                        <a:rPr lang="en-US" sz="1000" b="1" baseline="30000" dirty="0">
                          <a:latin typeface="+mn-lt"/>
                        </a:rPr>
                        <a:t>a</a:t>
                      </a:r>
                      <a:endParaRPr lang="en-US" sz="1000" b="1" dirty="0">
                        <a:latin typeface="+mn-lt"/>
                        <a:cs typeface="Helvetica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6245364"/>
                  </a:ext>
                </a:extLst>
              </a:tr>
              <a:tr h="3231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rgbClr val="E31837"/>
                          </a:solidFill>
                          <a:latin typeface="+mn-lt"/>
                        </a:rPr>
                        <a:t>mRNA-4157 (V940) +</a:t>
                      </a:r>
                      <a:r>
                        <a:rPr lang="en-US" sz="1000" b="1" spc="-20" dirty="0">
                          <a:solidFill>
                            <a:srgbClr val="E31837"/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spc="-10" dirty="0">
                          <a:solidFill>
                            <a:srgbClr val="E31837"/>
                          </a:solidFill>
                          <a:latin typeface="+mn-lt"/>
                        </a:rPr>
                        <a:t>pembrolizumab</a:t>
                      </a:r>
                      <a:endParaRPr lang="en-US" sz="1000" b="1" dirty="0">
                        <a:solidFill>
                          <a:srgbClr val="E31837"/>
                        </a:solidFill>
                        <a:latin typeface="+mn-lt"/>
                        <a:cs typeface="Helvetica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8.4 (9/107)</a:t>
                      </a: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0.347 (0.145-0.828)</a:t>
                      </a:r>
                      <a:b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000" b="1" i="1" dirty="0">
                          <a:solidFill>
                            <a:schemeClr val="tx1"/>
                          </a:solidFill>
                          <a:latin typeface="+mn-lt"/>
                        </a:rPr>
                        <a:t>P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 = 0.0063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n-lt"/>
                        <a:cs typeface="Helvetica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13681"/>
                  </a:ext>
                </a:extLst>
              </a:tr>
              <a:tr h="2945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r>
                        <a:rPr lang="en-US" sz="1000" b="1" spc="-10" dirty="0">
                          <a:solidFill>
                            <a:srgbClr val="4D4D4F"/>
                          </a:solidFill>
                          <a:latin typeface="+mn-lt"/>
                        </a:rPr>
                        <a:t>pembrolizumab</a:t>
                      </a:r>
                      <a:endParaRPr lang="en-US" sz="1000" dirty="0">
                        <a:solidFill>
                          <a:srgbClr val="4D4D4F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spc="-10" dirty="0">
                          <a:solidFill>
                            <a:schemeClr val="tx1"/>
                          </a:solidFill>
                          <a:latin typeface="+mn-lt"/>
                        </a:rPr>
                        <a:t>24.0 (12/50)</a:t>
                      </a: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ACE2">
                        <a:lumMod val="20000"/>
                        <a:lumOff val="8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marT="27432" marB="274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378311"/>
                  </a:ext>
                </a:extLst>
              </a:tr>
            </a:tbl>
          </a:graphicData>
        </a:graphic>
      </p:graphicFrame>
      <p:sp>
        <p:nvSpPr>
          <p:cNvPr id="323" name="TextBox 322">
            <a:extLst>
              <a:ext uri="{FF2B5EF4-FFF2-40B4-BE49-F238E27FC236}">
                <a16:creationId xmlns:a16="http://schemas.microsoft.com/office/drawing/2014/main" id="{88DFEA38-B8EF-EB7D-8612-DCD810CAE0C3}"/>
              </a:ext>
            </a:extLst>
          </p:cNvPr>
          <p:cNvSpPr txBox="1"/>
          <p:nvPr/>
        </p:nvSpPr>
        <p:spPr>
          <a:xfrm>
            <a:off x="6049135" y="1495539"/>
            <a:ext cx="1028344" cy="28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1.8%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4E739CEF-190C-8A15-15C2-AB087B7ABE06}"/>
              </a:ext>
            </a:extLst>
          </p:cNvPr>
          <p:cNvSpPr txBox="1"/>
          <p:nvPr/>
        </p:nvSpPr>
        <p:spPr>
          <a:xfrm>
            <a:off x="5118902" y="2237722"/>
            <a:ext cx="988388" cy="28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6.8%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6247C492-24EE-1236-C5B6-3925AE920B38}"/>
              </a:ext>
            </a:extLst>
          </p:cNvPr>
          <p:cNvSpPr/>
          <p:nvPr/>
        </p:nvSpPr>
        <p:spPr>
          <a:xfrm>
            <a:off x="10366518" y="4076942"/>
            <a:ext cx="1825482" cy="49153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326" name="Group 325">
            <a:extLst>
              <a:ext uri="{FF2B5EF4-FFF2-40B4-BE49-F238E27FC236}">
                <a16:creationId xmlns:a16="http://schemas.microsoft.com/office/drawing/2014/main" id="{2151E50A-C0AD-4F88-0360-D49C301DAEE5}"/>
              </a:ext>
            </a:extLst>
          </p:cNvPr>
          <p:cNvGrpSpPr/>
          <p:nvPr/>
        </p:nvGrpSpPr>
        <p:grpSpPr>
          <a:xfrm>
            <a:off x="347589" y="4817901"/>
            <a:ext cx="10005961" cy="525517"/>
            <a:chOff x="469985" y="5112133"/>
            <a:chExt cx="9835136" cy="669831"/>
          </a:xfrm>
        </p:grpSpPr>
        <p:sp>
          <p:nvSpPr>
            <p:cNvPr id="327" name="object 41">
              <a:extLst>
                <a:ext uri="{FF2B5EF4-FFF2-40B4-BE49-F238E27FC236}">
                  <a16:creationId xmlns:a16="http://schemas.microsoft.com/office/drawing/2014/main" id="{9493341E-D0DE-1E41-D6E6-B9E5D1DE1D3B}"/>
                </a:ext>
              </a:extLst>
            </p:cNvPr>
            <p:cNvSpPr txBox="1"/>
            <p:nvPr/>
          </p:nvSpPr>
          <p:spPr>
            <a:xfrm>
              <a:off x="2332439" y="5455191"/>
              <a:ext cx="30099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07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8" name="object 50">
              <a:extLst>
                <a:ext uri="{FF2B5EF4-FFF2-40B4-BE49-F238E27FC236}">
                  <a16:creationId xmlns:a16="http://schemas.microsoft.com/office/drawing/2014/main" id="{3BE673EE-1522-745C-58B1-66FF3CE2F4CC}"/>
                </a:ext>
              </a:extLst>
            </p:cNvPr>
            <p:cNvSpPr txBox="1"/>
            <p:nvPr/>
          </p:nvSpPr>
          <p:spPr>
            <a:xfrm>
              <a:off x="2378413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0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9" name="object 42">
              <a:extLst>
                <a:ext uri="{FF2B5EF4-FFF2-40B4-BE49-F238E27FC236}">
                  <a16:creationId xmlns:a16="http://schemas.microsoft.com/office/drawing/2014/main" id="{1118844F-4222-42A4-01AC-5337AEBD0730}"/>
                </a:ext>
              </a:extLst>
            </p:cNvPr>
            <p:cNvSpPr txBox="1"/>
            <p:nvPr/>
          </p:nvSpPr>
          <p:spPr>
            <a:xfrm>
              <a:off x="3337005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9</a:t>
              </a:r>
              <a:r>
                <a:rPr kumimoji="0" lang="en-US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0" name="object 51">
              <a:extLst>
                <a:ext uri="{FF2B5EF4-FFF2-40B4-BE49-F238E27FC236}">
                  <a16:creationId xmlns:a16="http://schemas.microsoft.com/office/drawing/2014/main" id="{E846B27D-E988-7BD3-7F85-03F46A4997E0}"/>
                </a:ext>
              </a:extLst>
            </p:cNvPr>
            <p:cNvSpPr txBox="1"/>
            <p:nvPr/>
          </p:nvSpPr>
          <p:spPr>
            <a:xfrm>
              <a:off x="3337005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r>
                <a:rPr kumimoji="0" lang="en-US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1" name="object 43">
              <a:extLst>
                <a:ext uri="{FF2B5EF4-FFF2-40B4-BE49-F238E27FC236}">
                  <a16:creationId xmlns:a16="http://schemas.microsoft.com/office/drawing/2014/main" id="{8A7F96C5-1C92-2FAE-AD9F-8C58FB938022}"/>
                </a:ext>
              </a:extLst>
            </p:cNvPr>
            <p:cNvSpPr txBox="1"/>
            <p:nvPr/>
          </p:nvSpPr>
          <p:spPr>
            <a:xfrm>
              <a:off x="4277301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8</a:t>
              </a:r>
              <a:r>
                <a:rPr kumimoji="0" lang="en-US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2" name="object 52">
              <a:extLst>
                <a:ext uri="{FF2B5EF4-FFF2-40B4-BE49-F238E27FC236}">
                  <a16:creationId xmlns:a16="http://schemas.microsoft.com/office/drawing/2014/main" id="{323F6EA2-D35E-9F65-4E88-F2229021902E}"/>
                </a:ext>
              </a:extLst>
            </p:cNvPr>
            <p:cNvSpPr txBox="1"/>
            <p:nvPr/>
          </p:nvSpPr>
          <p:spPr>
            <a:xfrm>
              <a:off x="4277301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r>
                <a:rPr kumimoji="0" lang="en-US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3" name="object 44">
              <a:extLst>
                <a:ext uri="{FF2B5EF4-FFF2-40B4-BE49-F238E27FC236}">
                  <a16:creationId xmlns:a16="http://schemas.microsoft.com/office/drawing/2014/main" id="{A87690A9-9703-1571-E346-D22A07C64563}"/>
                </a:ext>
              </a:extLst>
            </p:cNvPr>
            <p:cNvSpPr txBox="1"/>
            <p:nvPr/>
          </p:nvSpPr>
          <p:spPr>
            <a:xfrm>
              <a:off x="5224966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73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4" name="object 53">
              <a:extLst>
                <a:ext uri="{FF2B5EF4-FFF2-40B4-BE49-F238E27FC236}">
                  <a16:creationId xmlns:a16="http://schemas.microsoft.com/office/drawing/2014/main" id="{C0980B3C-D900-D8C5-F63C-CAECDAE6E220}"/>
                </a:ext>
              </a:extLst>
            </p:cNvPr>
            <p:cNvSpPr txBox="1"/>
            <p:nvPr/>
          </p:nvSpPr>
          <p:spPr>
            <a:xfrm>
              <a:off x="5224966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r>
                <a:rPr kumimoji="0" lang="en-US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9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5" name="object 45">
              <a:extLst>
                <a:ext uri="{FF2B5EF4-FFF2-40B4-BE49-F238E27FC236}">
                  <a16:creationId xmlns:a16="http://schemas.microsoft.com/office/drawing/2014/main" id="{8912AC10-7BAE-7C84-89B5-95D7BF900DC2}"/>
                </a:ext>
              </a:extLst>
            </p:cNvPr>
            <p:cNvSpPr txBox="1"/>
            <p:nvPr/>
          </p:nvSpPr>
          <p:spPr>
            <a:xfrm>
              <a:off x="6165843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9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6" name="object 54">
              <a:extLst>
                <a:ext uri="{FF2B5EF4-FFF2-40B4-BE49-F238E27FC236}">
                  <a16:creationId xmlns:a16="http://schemas.microsoft.com/office/drawing/2014/main" id="{92CF3C66-BEB5-8638-7C34-B8B8604A51BB}"/>
                </a:ext>
              </a:extLst>
            </p:cNvPr>
            <p:cNvSpPr txBox="1"/>
            <p:nvPr/>
          </p:nvSpPr>
          <p:spPr>
            <a:xfrm>
              <a:off x="6165843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en-US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9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7" name="object 46">
              <a:extLst>
                <a:ext uri="{FF2B5EF4-FFF2-40B4-BE49-F238E27FC236}">
                  <a16:creationId xmlns:a16="http://schemas.microsoft.com/office/drawing/2014/main" id="{F0D838DE-9CFC-0728-CFE0-859F44551FA9}"/>
                </a:ext>
              </a:extLst>
            </p:cNvPr>
            <p:cNvSpPr txBox="1"/>
            <p:nvPr/>
          </p:nvSpPr>
          <p:spPr>
            <a:xfrm>
              <a:off x="7119634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en-US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8" name="object 55">
              <a:extLst>
                <a:ext uri="{FF2B5EF4-FFF2-40B4-BE49-F238E27FC236}">
                  <a16:creationId xmlns:a16="http://schemas.microsoft.com/office/drawing/2014/main" id="{CBD7A69C-F6DB-21AA-B2E5-1AF0B74A9D03}"/>
                </a:ext>
              </a:extLst>
            </p:cNvPr>
            <p:cNvSpPr txBox="1"/>
            <p:nvPr/>
          </p:nvSpPr>
          <p:spPr>
            <a:xfrm>
              <a:off x="7119634" y="563064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r>
                <a:rPr kumimoji="0" lang="en-US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9" name="object 47">
              <a:extLst>
                <a:ext uri="{FF2B5EF4-FFF2-40B4-BE49-F238E27FC236}">
                  <a16:creationId xmlns:a16="http://schemas.microsoft.com/office/drawing/2014/main" id="{DDE49310-849B-460A-99F3-F990FA06B825}"/>
                </a:ext>
              </a:extLst>
            </p:cNvPr>
            <p:cNvSpPr txBox="1"/>
            <p:nvPr/>
          </p:nvSpPr>
          <p:spPr>
            <a:xfrm>
              <a:off x="8065646" y="5455191"/>
              <a:ext cx="209550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-25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0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0" name="object 56">
              <a:extLst>
                <a:ext uri="{FF2B5EF4-FFF2-40B4-BE49-F238E27FC236}">
                  <a16:creationId xmlns:a16="http://schemas.microsoft.com/office/drawing/2014/main" id="{66FB4659-DF94-DC86-E3ED-4A70113D1E17}"/>
                </a:ext>
              </a:extLst>
            </p:cNvPr>
            <p:cNvSpPr txBox="1"/>
            <p:nvPr/>
          </p:nvSpPr>
          <p:spPr>
            <a:xfrm>
              <a:off x="8111492" y="563064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</a:t>
              </a:r>
            </a:p>
          </p:txBody>
        </p:sp>
        <p:sp>
          <p:nvSpPr>
            <p:cNvPr id="341" name="object 48">
              <a:extLst>
                <a:ext uri="{FF2B5EF4-FFF2-40B4-BE49-F238E27FC236}">
                  <a16:creationId xmlns:a16="http://schemas.microsoft.com/office/drawing/2014/main" id="{79DBBD70-7689-0D26-E23D-E40D806E31FF}"/>
                </a:ext>
              </a:extLst>
            </p:cNvPr>
            <p:cNvSpPr txBox="1"/>
            <p:nvPr/>
          </p:nvSpPr>
          <p:spPr>
            <a:xfrm>
              <a:off x="9052850" y="545519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8</a:t>
              </a:r>
            </a:p>
          </p:txBody>
        </p:sp>
        <p:sp>
          <p:nvSpPr>
            <p:cNvPr id="342" name="object 57">
              <a:extLst>
                <a:ext uri="{FF2B5EF4-FFF2-40B4-BE49-F238E27FC236}">
                  <a16:creationId xmlns:a16="http://schemas.microsoft.com/office/drawing/2014/main" id="{86BCF014-60D4-6EEE-BB35-9BC56CAA5040}"/>
                </a:ext>
              </a:extLst>
            </p:cNvPr>
            <p:cNvSpPr txBox="1"/>
            <p:nvPr/>
          </p:nvSpPr>
          <p:spPr>
            <a:xfrm>
              <a:off x="9052850" y="563064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43" name="object 49">
              <a:extLst>
                <a:ext uri="{FF2B5EF4-FFF2-40B4-BE49-F238E27FC236}">
                  <a16:creationId xmlns:a16="http://schemas.microsoft.com/office/drawing/2014/main" id="{DD82BD92-46D8-B172-2B3D-236758524E13}"/>
                </a:ext>
              </a:extLst>
            </p:cNvPr>
            <p:cNvSpPr txBox="1"/>
            <p:nvPr/>
          </p:nvSpPr>
          <p:spPr>
            <a:xfrm>
              <a:off x="10007705" y="545519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44" name="object 58">
              <a:extLst>
                <a:ext uri="{FF2B5EF4-FFF2-40B4-BE49-F238E27FC236}">
                  <a16:creationId xmlns:a16="http://schemas.microsoft.com/office/drawing/2014/main" id="{331DE960-9410-A0E8-E26A-904DDD865E7C}"/>
                </a:ext>
              </a:extLst>
            </p:cNvPr>
            <p:cNvSpPr txBox="1"/>
            <p:nvPr/>
          </p:nvSpPr>
          <p:spPr>
            <a:xfrm>
              <a:off x="10007705" y="5630641"/>
              <a:ext cx="117475" cy="151323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345" name="object 64">
              <a:extLst>
                <a:ext uri="{FF2B5EF4-FFF2-40B4-BE49-F238E27FC236}">
                  <a16:creationId xmlns:a16="http://schemas.microsoft.com/office/drawing/2014/main" id="{3548AD51-3207-F7B8-F97E-E57831363EFC}"/>
                </a:ext>
              </a:extLst>
            </p:cNvPr>
            <p:cNvSpPr txBox="1"/>
            <p:nvPr/>
          </p:nvSpPr>
          <p:spPr>
            <a:xfrm>
              <a:off x="762003" y="5622947"/>
              <a:ext cx="1377025" cy="1513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-10" normalizeH="0" baseline="0" noProof="0" dirty="0">
                  <a:ln>
                    <a:noFill/>
                  </a:ln>
                  <a:solidFill>
                    <a:srgbClr val="4D4D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embrolizumab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6" name="object 65">
              <a:extLst>
                <a:ext uri="{FF2B5EF4-FFF2-40B4-BE49-F238E27FC236}">
                  <a16:creationId xmlns:a16="http://schemas.microsoft.com/office/drawing/2014/main" id="{A504C602-1626-5935-66AC-01D4A06C3CDB}"/>
                </a:ext>
              </a:extLst>
            </p:cNvPr>
            <p:cNvSpPr txBox="1"/>
            <p:nvPr/>
          </p:nvSpPr>
          <p:spPr>
            <a:xfrm>
              <a:off x="469985" y="5293608"/>
              <a:ext cx="1669044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RNA-4157 (V940)</a:t>
              </a:r>
              <a:r>
                <a:rPr kumimoji="0" lang="en-US" sz="900" b="1" i="0" u="none" strike="noStrike" kern="0" cap="none" spc="-25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</a:t>
              </a:r>
              <a:r>
                <a:rPr kumimoji="0" lang="en-US" sz="900" b="1" i="0" u="none" strike="noStrike" kern="0" cap="none" spc="-2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900" b="1" i="0" u="none" strike="noStrike" kern="0" cap="none" spc="-10" normalizeH="0" baseline="0" noProof="0" dirty="0">
                  <a:ln>
                    <a:noFill/>
                  </a:ln>
                  <a:solidFill>
                    <a:srgbClr val="E3183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embrolizumab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E318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7" name="object 65">
              <a:extLst>
                <a:ext uri="{FF2B5EF4-FFF2-40B4-BE49-F238E27FC236}">
                  <a16:creationId xmlns:a16="http://schemas.microsoft.com/office/drawing/2014/main" id="{42F4F6D4-7B80-8E1E-F749-C9753CF4DF9B}"/>
                </a:ext>
              </a:extLst>
            </p:cNvPr>
            <p:cNvSpPr txBox="1"/>
            <p:nvPr/>
          </p:nvSpPr>
          <p:spPr>
            <a:xfrm>
              <a:off x="2425414" y="5112133"/>
              <a:ext cx="7802206" cy="1513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umber at Risk</a:t>
              </a:r>
            </a:p>
          </p:txBody>
        </p:sp>
        <p:cxnSp>
          <p:nvCxnSpPr>
            <p:cNvPr id="348" name="Straight Connector 347">
              <a:extLst>
                <a:ext uri="{FF2B5EF4-FFF2-40B4-BE49-F238E27FC236}">
                  <a16:creationId xmlns:a16="http://schemas.microsoft.com/office/drawing/2014/main" id="{4E579FFA-105D-A58B-1FA6-BC40760E2895}"/>
                </a:ext>
              </a:extLst>
            </p:cNvPr>
            <p:cNvCxnSpPr>
              <a:cxnSpLocks/>
            </p:cNvCxnSpPr>
            <p:nvPr/>
          </p:nvCxnSpPr>
          <p:spPr>
            <a:xfrm>
              <a:off x="2443832" y="5309048"/>
              <a:ext cx="7861289" cy="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4AD304E0-695F-0120-8201-AA7442867CD1}"/>
              </a:ext>
            </a:extLst>
          </p:cNvPr>
          <p:cNvCxnSpPr>
            <a:cxnSpLocks/>
          </p:cNvCxnSpPr>
          <p:nvPr/>
        </p:nvCxnSpPr>
        <p:spPr>
          <a:xfrm flipH="1">
            <a:off x="6094441" y="1556394"/>
            <a:ext cx="3236" cy="2751195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  <a:miter lim="800000"/>
          </a:ln>
          <a:effectLst/>
        </p:spPr>
      </p:cxnSp>
      <p:sp>
        <p:nvSpPr>
          <p:cNvPr id="350" name="object 65">
            <a:extLst>
              <a:ext uri="{FF2B5EF4-FFF2-40B4-BE49-F238E27FC236}">
                <a16:creationId xmlns:a16="http://schemas.microsoft.com/office/drawing/2014/main" id="{0F1F97AD-08C6-E656-10F9-D63D352F8FD2}"/>
              </a:ext>
            </a:extLst>
          </p:cNvPr>
          <p:cNvSpPr txBox="1"/>
          <p:nvPr/>
        </p:nvSpPr>
        <p:spPr>
          <a:xfrm>
            <a:off x="9388570" y="1389762"/>
            <a:ext cx="166904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rPr>
              <a:t>+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rPr>
              <a:t>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Helvetica"/>
              </a:rPr>
              <a:t>Censored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Helvetica"/>
            </a:endParaRPr>
          </a:p>
        </p:txBody>
      </p: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5B095DE7-A940-34B1-9D51-76BEFF9C0531}"/>
              </a:ext>
            </a:extLst>
          </p:cNvPr>
          <p:cNvGrpSpPr/>
          <p:nvPr/>
        </p:nvGrpSpPr>
        <p:grpSpPr>
          <a:xfrm>
            <a:off x="2404202" y="1498763"/>
            <a:ext cx="7952838" cy="829830"/>
            <a:chOff x="2404202" y="1630021"/>
            <a:chExt cx="7952838" cy="829830"/>
          </a:xfrm>
        </p:grpSpPr>
        <p:sp>
          <p:nvSpPr>
            <p:cNvPr id="352" name="Freeform 14">
              <a:extLst>
                <a:ext uri="{FF2B5EF4-FFF2-40B4-BE49-F238E27FC236}">
                  <a16:creationId xmlns:a16="http://schemas.microsoft.com/office/drawing/2014/main" id="{FF35491C-9969-C5D5-ED97-1642DF2C6F98}"/>
                </a:ext>
              </a:extLst>
            </p:cNvPr>
            <p:cNvSpPr/>
            <p:nvPr/>
          </p:nvSpPr>
          <p:spPr>
            <a:xfrm>
              <a:off x="2404202" y="1676789"/>
              <a:ext cx="7916802" cy="732687"/>
            </a:xfrm>
            <a:custGeom>
              <a:avLst/>
              <a:gdLst>
                <a:gd name="connsiteX0" fmla="*/ 0 w 6438663"/>
                <a:gd name="connsiteY0" fmla="*/ 0 h 776873"/>
                <a:gd name="connsiteX1" fmla="*/ 0 w 6438663"/>
                <a:gd name="connsiteY1" fmla="*/ 0 h 776873"/>
                <a:gd name="connsiteX2" fmla="*/ 5695 w 6438663"/>
                <a:gd name="connsiteY2" fmla="*/ 0 h 776873"/>
                <a:gd name="connsiteX3" fmla="*/ 443502 w 6438663"/>
                <a:gd name="connsiteY3" fmla="*/ 0 h 776873"/>
                <a:gd name="connsiteX4" fmla="*/ 460282 w 6438663"/>
                <a:gd name="connsiteY4" fmla="*/ 0 h 776873"/>
                <a:gd name="connsiteX5" fmla="*/ 460282 w 6438663"/>
                <a:gd name="connsiteY5" fmla="*/ 28337 h 776873"/>
                <a:gd name="connsiteX6" fmla="*/ 477164 w 6438663"/>
                <a:gd name="connsiteY6" fmla="*/ 28337 h 776873"/>
                <a:gd name="connsiteX7" fmla="*/ 477164 w 6438663"/>
                <a:gd name="connsiteY7" fmla="*/ 85721 h 776873"/>
                <a:gd name="connsiteX8" fmla="*/ 493944 w 6438663"/>
                <a:gd name="connsiteY8" fmla="*/ 85721 h 776873"/>
                <a:gd name="connsiteX9" fmla="*/ 505233 w 6438663"/>
                <a:gd name="connsiteY9" fmla="*/ 85721 h 776873"/>
                <a:gd name="connsiteX10" fmla="*/ 505233 w 6438663"/>
                <a:gd name="connsiteY10" fmla="*/ 114972 h 776873"/>
                <a:gd name="connsiteX11" fmla="*/ 516521 w 6438663"/>
                <a:gd name="connsiteY11" fmla="*/ 114972 h 776873"/>
                <a:gd name="connsiteX12" fmla="*/ 746560 w 6438663"/>
                <a:gd name="connsiteY12" fmla="*/ 114972 h 776873"/>
                <a:gd name="connsiteX13" fmla="*/ 836461 w 6438663"/>
                <a:gd name="connsiteY13" fmla="*/ 114972 h 776873"/>
                <a:gd name="connsiteX14" fmla="*/ 903785 w 6438663"/>
                <a:gd name="connsiteY14" fmla="*/ 114972 h 776873"/>
                <a:gd name="connsiteX15" fmla="*/ 903785 w 6438663"/>
                <a:gd name="connsiteY15" fmla="*/ 145137 h 776873"/>
                <a:gd name="connsiteX16" fmla="*/ 982397 w 6438663"/>
                <a:gd name="connsiteY16" fmla="*/ 145137 h 776873"/>
                <a:gd name="connsiteX17" fmla="*/ 987990 w 6438663"/>
                <a:gd name="connsiteY17" fmla="*/ 145137 h 776873"/>
                <a:gd name="connsiteX18" fmla="*/ 1016058 w 6438663"/>
                <a:gd name="connsiteY18" fmla="*/ 145137 h 776873"/>
                <a:gd name="connsiteX19" fmla="*/ 1038534 w 6438663"/>
                <a:gd name="connsiteY19" fmla="*/ 145137 h 776873"/>
                <a:gd name="connsiteX20" fmla="*/ 1038534 w 6438663"/>
                <a:gd name="connsiteY20" fmla="*/ 176419 h 776873"/>
                <a:gd name="connsiteX21" fmla="*/ 1392237 w 6438663"/>
                <a:gd name="connsiteY21" fmla="*/ 176419 h 776873"/>
                <a:gd name="connsiteX22" fmla="*/ 1392237 w 6438663"/>
                <a:gd name="connsiteY22" fmla="*/ 207600 h 776873"/>
                <a:gd name="connsiteX23" fmla="*/ 1403424 w 6438663"/>
                <a:gd name="connsiteY23" fmla="*/ 207600 h 776873"/>
                <a:gd name="connsiteX24" fmla="*/ 1863706 w 6438663"/>
                <a:gd name="connsiteY24" fmla="*/ 207600 h 776873"/>
                <a:gd name="connsiteX25" fmla="*/ 1891775 w 6438663"/>
                <a:gd name="connsiteY25" fmla="*/ 207600 h 776873"/>
                <a:gd name="connsiteX26" fmla="*/ 1931030 w 6438663"/>
                <a:gd name="connsiteY26" fmla="*/ 207600 h 776873"/>
                <a:gd name="connsiteX27" fmla="*/ 2093847 w 6438663"/>
                <a:gd name="connsiteY27" fmla="*/ 207600 h 776873"/>
                <a:gd name="connsiteX28" fmla="*/ 2093847 w 6438663"/>
                <a:gd name="connsiteY28" fmla="*/ 240304 h 776873"/>
                <a:gd name="connsiteX29" fmla="*/ 2267852 w 6438663"/>
                <a:gd name="connsiteY29" fmla="*/ 240304 h 776873"/>
                <a:gd name="connsiteX30" fmla="*/ 2307208 w 6438663"/>
                <a:gd name="connsiteY30" fmla="*/ 240304 h 776873"/>
                <a:gd name="connsiteX31" fmla="*/ 2312802 w 6438663"/>
                <a:gd name="connsiteY31" fmla="*/ 240304 h 776873"/>
                <a:gd name="connsiteX32" fmla="*/ 2318395 w 6438663"/>
                <a:gd name="connsiteY32" fmla="*/ 240304 h 776873"/>
                <a:gd name="connsiteX33" fmla="*/ 2323988 w 6438663"/>
                <a:gd name="connsiteY33" fmla="*/ 240304 h 776873"/>
                <a:gd name="connsiteX34" fmla="*/ 2346463 w 6438663"/>
                <a:gd name="connsiteY34" fmla="*/ 240304 h 776873"/>
                <a:gd name="connsiteX35" fmla="*/ 2352159 w 6438663"/>
                <a:gd name="connsiteY35" fmla="*/ 240304 h 776873"/>
                <a:gd name="connsiteX36" fmla="*/ 2363244 w 6438663"/>
                <a:gd name="connsiteY36" fmla="*/ 240304 h 776873"/>
                <a:gd name="connsiteX37" fmla="*/ 2368939 w 6438663"/>
                <a:gd name="connsiteY37" fmla="*/ 240304 h 776873"/>
                <a:gd name="connsiteX38" fmla="*/ 2385821 w 6438663"/>
                <a:gd name="connsiteY38" fmla="*/ 240304 h 776873"/>
                <a:gd name="connsiteX39" fmla="*/ 2391414 w 6438663"/>
                <a:gd name="connsiteY39" fmla="*/ 240304 h 776873"/>
                <a:gd name="connsiteX40" fmla="*/ 2402601 w 6438663"/>
                <a:gd name="connsiteY40" fmla="*/ 240304 h 776873"/>
                <a:gd name="connsiteX41" fmla="*/ 2441856 w 6438663"/>
                <a:gd name="connsiteY41" fmla="*/ 240304 h 776873"/>
                <a:gd name="connsiteX42" fmla="*/ 2559825 w 6438663"/>
                <a:gd name="connsiteY42" fmla="*/ 240304 h 776873"/>
                <a:gd name="connsiteX43" fmla="*/ 2761897 w 6438663"/>
                <a:gd name="connsiteY43" fmla="*/ 240304 h 776873"/>
                <a:gd name="connsiteX44" fmla="*/ 2795559 w 6438663"/>
                <a:gd name="connsiteY44" fmla="*/ 240304 h 776873"/>
                <a:gd name="connsiteX45" fmla="*/ 2818034 w 6438663"/>
                <a:gd name="connsiteY45" fmla="*/ 240304 h 776873"/>
                <a:gd name="connsiteX46" fmla="*/ 2823628 w 6438663"/>
                <a:gd name="connsiteY46" fmla="*/ 240304 h 776873"/>
                <a:gd name="connsiteX47" fmla="*/ 2834814 w 6438663"/>
                <a:gd name="connsiteY47" fmla="*/ 240304 h 776873"/>
                <a:gd name="connsiteX48" fmla="*/ 2840408 w 6438663"/>
                <a:gd name="connsiteY48" fmla="*/ 240304 h 776873"/>
                <a:gd name="connsiteX49" fmla="*/ 2857290 w 6438663"/>
                <a:gd name="connsiteY49" fmla="*/ 240304 h 776873"/>
                <a:gd name="connsiteX50" fmla="*/ 2874070 w 6438663"/>
                <a:gd name="connsiteY50" fmla="*/ 240304 h 776873"/>
                <a:gd name="connsiteX51" fmla="*/ 2890951 w 6438663"/>
                <a:gd name="connsiteY51" fmla="*/ 240304 h 776873"/>
                <a:gd name="connsiteX52" fmla="*/ 3104313 w 6438663"/>
                <a:gd name="connsiteY52" fmla="*/ 240304 h 776873"/>
                <a:gd name="connsiteX53" fmla="*/ 3227773 w 6438663"/>
                <a:gd name="connsiteY53" fmla="*/ 240304 h 776873"/>
                <a:gd name="connsiteX54" fmla="*/ 3261435 w 6438663"/>
                <a:gd name="connsiteY54" fmla="*/ 240304 h 776873"/>
                <a:gd name="connsiteX55" fmla="*/ 3283910 w 6438663"/>
                <a:gd name="connsiteY55" fmla="*/ 240304 h 776873"/>
                <a:gd name="connsiteX56" fmla="*/ 3289503 w 6438663"/>
                <a:gd name="connsiteY56" fmla="*/ 240304 h 776873"/>
                <a:gd name="connsiteX57" fmla="*/ 3306385 w 6438663"/>
                <a:gd name="connsiteY57" fmla="*/ 240304 h 776873"/>
                <a:gd name="connsiteX58" fmla="*/ 3311978 w 6438663"/>
                <a:gd name="connsiteY58" fmla="*/ 240304 h 776873"/>
                <a:gd name="connsiteX59" fmla="*/ 3317572 w 6438663"/>
                <a:gd name="connsiteY59" fmla="*/ 240304 h 776873"/>
                <a:gd name="connsiteX60" fmla="*/ 3334454 w 6438663"/>
                <a:gd name="connsiteY60" fmla="*/ 240304 h 776873"/>
                <a:gd name="connsiteX61" fmla="*/ 3373709 w 6438663"/>
                <a:gd name="connsiteY61" fmla="*/ 240304 h 776873"/>
                <a:gd name="connsiteX62" fmla="*/ 3508458 w 6438663"/>
                <a:gd name="connsiteY62" fmla="*/ 240304 h 776873"/>
                <a:gd name="connsiteX63" fmla="*/ 3659987 w 6438663"/>
                <a:gd name="connsiteY63" fmla="*/ 240304 h 776873"/>
                <a:gd name="connsiteX64" fmla="*/ 3744294 w 6438663"/>
                <a:gd name="connsiteY64" fmla="*/ 240304 h 776873"/>
                <a:gd name="connsiteX65" fmla="*/ 3755379 w 6438663"/>
                <a:gd name="connsiteY65" fmla="*/ 240304 h 776873"/>
                <a:gd name="connsiteX66" fmla="*/ 3766668 w 6438663"/>
                <a:gd name="connsiteY66" fmla="*/ 240304 h 776873"/>
                <a:gd name="connsiteX67" fmla="*/ 3772261 w 6438663"/>
                <a:gd name="connsiteY67" fmla="*/ 240304 h 776873"/>
                <a:gd name="connsiteX68" fmla="*/ 3777956 w 6438663"/>
                <a:gd name="connsiteY68" fmla="*/ 240304 h 776873"/>
                <a:gd name="connsiteX69" fmla="*/ 3789143 w 6438663"/>
                <a:gd name="connsiteY69" fmla="*/ 240304 h 776873"/>
                <a:gd name="connsiteX70" fmla="*/ 3800329 w 6438663"/>
                <a:gd name="connsiteY70" fmla="*/ 240304 h 776873"/>
                <a:gd name="connsiteX71" fmla="*/ 3817211 w 6438663"/>
                <a:gd name="connsiteY71" fmla="*/ 240304 h 776873"/>
                <a:gd name="connsiteX72" fmla="*/ 3828398 w 6438663"/>
                <a:gd name="connsiteY72" fmla="*/ 240304 h 776873"/>
                <a:gd name="connsiteX73" fmla="*/ 3839686 w 6438663"/>
                <a:gd name="connsiteY73" fmla="*/ 240304 h 776873"/>
                <a:gd name="connsiteX74" fmla="*/ 3845279 w 6438663"/>
                <a:gd name="connsiteY74" fmla="*/ 240304 h 776873"/>
                <a:gd name="connsiteX75" fmla="*/ 3895823 w 6438663"/>
                <a:gd name="connsiteY75" fmla="*/ 240304 h 776873"/>
                <a:gd name="connsiteX76" fmla="*/ 4176508 w 6438663"/>
                <a:gd name="connsiteY76" fmla="*/ 240304 h 776873"/>
                <a:gd name="connsiteX77" fmla="*/ 4255120 w 6438663"/>
                <a:gd name="connsiteY77" fmla="*/ 240304 h 776873"/>
                <a:gd name="connsiteX78" fmla="*/ 4378479 w 6438663"/>
                <a:gd name="connsiteY78" fmla="*/ 240304 h 776873"/>
                <a:gd name="connsiteX79" fmla="*/ 4799608 w 6438663"/>
                <a:gd name="connsiteY79" fmla="*/ 240304 h 776873"/>
                <a:gd name="connsiteX80" fmla="*/ 4805201 w 6438663"/>
                <a:gd name="connsiteY80" fmla="*/ 240304 h 776873"/>
                <a:gd name="connsiteX81" fmla="*/ 4838863 w 6438663"/>
                <a:gd name="connsiteY81" fmla="*/ 240304 h 776873"/>
                <a:gd name="connsiteX82" fmla="*/ 4844457 w 6438663"/>
                <a:gd name="connsiteY82" fmla="*/ 240304 h 776873"/>
                <a:gd name="connsiteX83" fmla="*/ 4883813 w 6438663"/>
                <a:gd name="connsiteY83" fmla="*/ 240304 h 776873"/>
                <a:gd name="connsiteX84" fmla="*/ 4911882 w 6438663"/>
                <a:gd name="connsiteY84" fmla="*/ 240304 h 776873"/>
                <a:gd name="connsiteX85" fmla="*/ 4956730 w 6438663"/>
                <a:gd name="connsiteY85" fmla="*/ 240304 h 776873"/>
                <a:gd name="connsiteX86" fmla="*/ 4990494 w 6438663"/>
                <a:gd name="connsiteY86" fmla="*/ 240304 h 776873"/>
                <a:gd name="connsiteX87" fmla="*/ 5069004 w 6438663"/>
                <a:gd name="connsiteY87" fmla="*/ 240304 h 776873"/>
                <a:gd name="connsiteX88" fmla="*/ 5125141 w 6438663"/>
                <a:gd name="connsiteY88" fmla="*/ 240304 h 776873"/>
                <a:gd name="connsiteX89" fmla="*/ 5388944 w 6438663"/>
                <a:gd name="connsiteY89" fmla="*/ 240304 h 776873"/>
                <a:gd name="connsiteX90" fmla="*/ 5742647 w 6438663"/>
                <a:gd name="connsiteY90" fmla="*/ 240304 h 776873"/>
                <a:gd name="connsiteX91" fmla="*/ 5961500 w 6438663"/>
                <a:gd name="connsiteY91" fmla="*/ 240304 h 776873"/>
                <a:gd name="connsiteX92" fmla="*/ 6045706 w 6438663"/>
                <a:gd name="connsiteY92" fmla="*/ 240304 h 776873"/>
                <a:gd name="connsiteX93" fmla="*/ 6045706 w 6438663"/>
                <a:gd name="connsiteY93" fmla="*/ 776874 h 776873"/>
                <a:gd name="connsiteX94" fmla="*/ 6073774 w 6438663"/>
                <a:gd name="connsiteY94" fmla="*/ 776874 h 776873"/>
                <a:gd name="connsiteX95" fmla="*/ 6208523 w 6438663"/>
                <a:gd name="connsiteY95" fmla="*/ 776874 h 776873"/>
                <a:gd name="connsiteX96" fmla="*/ 6253372 w 6438663"/>
                <a:gd name="connsiteY96" fmla="*/ 776874 h 776873"/>
                <a:gd name="connsiteX97" fmla="*/ 6438664 w 6438663"/>
                <a:gd name="connsiteY97" fmla="*/ 776874 h 776873"/>
                <a:gd name="connsiteX0" fmla="*/ 0 w 7067314"/>
                <a:gd name="connsiteY0" fmla="*/ 0 h 776874"/>
                <a:gd name="connsiteX1" fmla="*/ 0 w 7067314"/>
                <a:gd name="connsiteY1" fmla="*/ 0 h 776874"/>
                <a:gd name="connsiteX2" fmla="*/ 5695 w 7067314"/>
                <a:gd name="connsiteY2" fmla="*/ 0 h 776874"/>
                <a:gd name="connsiteX3" fmla="*/ 443502 w 7067314"/>
                <a:gd name="connsiteY3" fmla="*/ 0 h 776874"/>
                <a:gd name="connsiteX4" fmla="*/ 460282 w 7067314"/>
                <a:gd name="connsiteY4" fmla="*/ 0 h 776874"/>
                <a:gd name="connsiteX5" fmla="*/ 460282 w 7067314"/>
                <a:gd name="connsiteY5" fmla="*/ 28337 h 776874"/>
                <a:gd name="connsiteX6" fmla="*/ 477164 w 7067314"/>
                <a:gd name="connsiteY6" fmla="*/ 28337 h 776874"/>
                <a:gd name="connsiteX7" fmla="*/ 477164 w 7067314"/>
                <a:gd name="connsiteY7" fmla="*/ 85721 h 776874"/>
                <a:gd name="connsiteX8" fmla="*/ 493944 w 7067314"/>
                <a:gd name="connsiteY8" fmla="*/ 85721 h 776874"/>
                <a:gd name="connsiteX9" fmla="*/ 505233 w 7067314"/>
                <a:gd name="connsiteY9" fmla="*/ 85721 h 776874"/>
                <a:gd name="connsiteX10" fmla="*/ 505233 w 7067314"/>
                <a:gd name="connsiteY10" fmla="*/ 114972 h 776874"/>
                <a:gd name="connsiteX11" fmla="*/ 516521 w 7067314"/>
                <a:gd name="connsiteY11" fmla="*/ 114972 h 776874"/>
                <a:gd name="connsiteX12" fmla="*/ 746560 w 7067314"/>
                <a:gd name="connsiteY12" fmla="*/ 114972 h 776874"/>
                <a:gd name="connsiteX13" fmla="*/ 836461 w 7067314"/>
                <a:gd name="connsiteY13" fmla="*/ 114972 h 776874"/>
                <a:gd name="connsiteX14" fmla="*/ 903785 w 7067314"/>
                <a:gd name="connsiteY14" fmla="*/ 114972 h 776874"/>
                <a:gd name="connsiteX15" fmla="*/ 903785 w 7067314"/>
                <a:gd name="connsiteY15" fmla="*/ 145137 h 776874"/>
                <a:gd name="connsiteX16" fmla="*/ 982397 w 7067314"/>
                <a:gd name="connsiteY16" fmla="*/ 145137 h 776874"/>
                <a:gd name="connsiteX17" fmla="*/ 987990 w 7067314"/>
                <a:gd name="connsiteY17" fmla="*/ 145137 h 776874"/>
                <a:gd name="connsiteX18" fmla="*/ 1016058 w 7067314"/>
                <a:gd name="connsiteY18" fmla="*/ 145137 h 776874"/>
                <a:gd name="connsiteX19" fmla="*/ 1038534 w 7067314"/>
                <a:gd name="connsiteY19" fmla="*/ 145137 h 776874"/>
                <a:gd name="connsiteX20" fmla="*/ 1038534 w 7067314"/>
                <a:gd name="connsiteY20" fmla="*/ 176419 h 776874"/>
                <a:gd name="connsiteX21" fmla="*/ 1392237 w 7067314"/>
                <a:gd name="connsiteY21" fmla="*/ 176419 h 776874"/>
                <a:gd name="connsiteX22" fmla="*/ 1392237 w 7067314"/>
                <a:gd name="connsiteY22" fmla="*/ 207600 h 776874"/>
                <a:gd name="connsiteX23" fmla="*/ 1403424 w 7067314"/>
                <a:gd name="connsiteY23" fmla="*/ 207600 h 776874"/>
                <a:gd name="connsiteX24" fmla="*/ 1863706 w 7067314"/>
                <a:gd name="connsiteY24" fmla="*/ 207600 h 776874"/>
                <a:gd name="connsiteX25" fmla="*/ 1891775 w 7067314"/>
                <a:gd name="connsiteY25" fmla="*/ 207600 h 776874"/>
                <a:gd name="connsiteX26" fmla="*/ 1931030 w 7067314"/>
                <a:gd name="connsiteY26" fmla="*/ 207600 h 776874"/>
                <a:gd name="connsiteX27" fmla="*/ 2093847 w 7067314"/>
                <a:gd name="connsiteY27" fmla="*/ 207600 h 776874"/>
                <a:gd name="connsiteX28" fmla="*/ 2093847 w 7067314"/>
                <a:gd name="connsiteY28" fmla="*/ 240304 h 776874"/>
                <a:gd name="connsiteX29" fmla="*/ 2267852 w 7067314"/>
                <a:gd name="connsiteY29" fmla="*/ 240304 h 776874"/>
                <a:gd name="connsiteX30" fmla="*/ 2307208 w 7067314"/>
                <a:gd name="connsiteY30" fmla="*/ 240304 h 776874"/>
                <a:gd name="connsiteX31" fmla="*/ 2312802 w 7067314"/>
                <a:gd name="connsiteY31" fmla="*/ 240304 h 776874"/>
                <a:gd name="connsiteX32" fmla="*/ 2318395 w 7067314"/>
                <a:gd name="connsiteY32" fmla="*/ 240304 h 776874"/>
                <a:gd name="connsiteX33" fmla="*/ 2323988 w 7067314"/>
                <a:gd name="connsiteY33" fmla="*/ 240304 h 776874"/>
                <a:gd name="connsiteX34" fmla="*/ 2346463 w 7067314"/>
                <a:gd name="connsiteY34" fmla="*/ 240304 h 776874"/>
                <a:gd name="connsiteX35" fmla="*/ 2352159 w 7067314"/>
                <a:gd name="connsiteY35" fmla="*/ 240304 h 776874"/>
                <a:gd name="connsiteX36" fmla="*/ 2363244 w 7067314"/>
                <a:gd name="connsiteY36" fmla="*/ 240304 h 776874"/>
                <a:gd name="connsiteX37" fmla="*/ 2368939 w 7067314"/>
                <a:gd name="connsiteY37" fmla="*/ 240304 h 776874"/>
                <a:gd name="connsiteX38" fmla="*/ 2385821 w 7067314"/>
                <a:gd name="connsiteY38" fmla="*/ 240304 h 776874"/>
                <a:gd name="connsiteX39" fmla="*/ 2391414 w 7067314"/>
                <a:gd name="connsiteY39" fmla="*/ 240304 h 776874"/>
                <a:gd name="connsiteX40" fmla="*/ 2402601 w 7067314"/>
                <a:gd name="connsiteY40" fmla="*/ 240304 h 776874"/>
                <a:gd name="connsiteX41" fmla="*/ 2441856 w 7067314"/>
                <a:gd name="connsiteY41" fmla="*/ 240304 h 776874"/>
                <a:gd name="connsiteX42" fmla="*/ 2559825 w 7067314"/>
                <a:gd name="connsiteY42" fmla="*/ 240304 h 776874"/>
                <a:gd name="connsiteX43" fmla="*/ 2761897 w 7067314"/>
                <a:gd name="connsiteY43" fmla="*/ 240304 h 776874"/>
                <a:gd name="connsiteX44" fmla="*/ 2795559 w 7067314"/>
                <a:gd name="connsiteY44" fmla="*/ 240304 h 776874"/>
                <a:gd name="connsiteX45" fmla="*/ 2818034 w 7067314"/>
                <a:gd name="connsiteY45" fmla="*/ 240304 h 776874"/>
                <a:gd name="connsiteX46" fmla="*/ 2823628 w 7067314"/>
                <a:gd name="connsiteY46" fmla="*/ 240304 h 776874"/>
                <a:gd name="connsiteX47" fmla="*/ 2834814 w 7067314"/>
                <a:gd name="connsiteY47" fmla="*/ 240304 h 776874"/>
                <a:gd name="connsiteX48" fmla="*/ 2840408 w 7067314"/>
                <a:gd name="connsiteY48" fmla="*/ 240304 h 776874"/>
                <a:gd name="connsiteX49" fmla="*/ 2857290 w 7067314"/>
                <a:gd name="connsiteY49" fmla="*/ 240304 h 776874"/>
                <a:gd name="connsiteX50" fmla="*/ 2874070 w 7067314"/>
                <a:gd name="connsiteY50" fmla="*/ 240304 h 776874"/>
                <a:gd name="connsiteX51" fmla="*/ 2890951 w 7067314"/>
                <a:gd name="connsiteY51" fmla="*/ 240304 h 776874"/>
                <a:gd name="connsiteX52" fmla="*/ 3104313 w 7067314"/>
                <a:gd name="connsiteY52" fmla="*/ 240304 h 776874"/>
                <a:gd name="connsiteX53" fmla="*/ 3227773 w 7067314"/>
                <a:gd name="connsiteY53" fmla="*/ 240304 h 776874"/>
                <a:gd name="connsiteX54" fmla="*/ 3261435 w 7067314"/>
                <a:gd name="connsiteY54" fmla="*/ 240304 h 776874"/>
                <a:gd name="connsiteX55" fmla="*/ 3283910 w 7067314"/>
                <a:gd name="connsiteY55" fmla="*/ 240304 h 776874"/>
                <a:gd name="connsiteX56" fmla="*/ 3289503 w 7067314"/>
                <a:gd name="connsiteY56" fmla="*/ 240304 h 776874"/>
                <a:gd name="connsiteX57" fmla="*/ 3306385 w 7067314"/>
                <a:gd name="connsiteY57" fmla="*/ 240304 h 776874"/>
                <a:gd name="connsiteX58" fmla="*/ 3311978 w 7067314"/>
                <a:gd name="connsiteY58" fmla="*/ 240304 h 776874"/>
                <a:gd name="connsiteX59" fmla="*/ 3317572 w 7067314"/>
                <a:gd name="connsiteY59" fmla="*/ 240304 h 776874"/>
                <a:gd name="connsiteX60" fmla="*/ 3334454 w 7067314"/>
                <a:gd name="connsiteY60" fmla="*/ 240304 h 776874"/>
                <a:gd name="connsiteX61" fmla="*/ 3373709 w 7067314"/>
                <a:gd name="connsiteY61" fmla="*/ 240304 h 776874"/>
                <a:gd name="connsiteX62" fmla="*/ 3508458 w 7067314"/>
                <a:gd name="connsiteY62" fmla="*/ 240304 h 776874"/>
                <a:gd name="connsiteX63" fmla="*/ 3659987 w 7067314"/>
                <a:gd name="connsiteY63" fmla="*/ 240304 h 776874"/>
                <a:gd name="connsiteX64" fmla="*/ 3744294 w 7067314"/>
                <a:gd name="connsiteY64" fmla="*/ 240304 h 776874"/>
                <a:gd name="connsiteX65" fmla="*/ 3755379 w 7067314"/>
                <a:gd name="connsiteY65" fmla="*/ 240304 h 776874"/>
                <a:gd name="connsiteX66" fmla="*/ 3766668 w 7067314"/>
                <a:gd name="connsiteY66" fmla="*/ 240304 h 776874"/>
                <a:gd name="connsiteX67" fmla="*/ 3772261 w 7067314"/>
                <a:gd name="connsiteY67" fmla="*/ 240304 h 776874"/>
                <a:gd name="connsiteX68" fmla="*/ 3777956 w 7067314"/>
                <a:gd name="connsiteY68" fmla="*/ 240304 h 776874"/>
                <a:gd name="connsiteX69" fmla="*/ 3789143 w 7067314"/>
                <a:gd name="connsiteY69" fmla="*/ 240304 h 776874"/>
                <a:gd name="connsiteX70" fmla="*/ 3800329 w 7067314"/>
                <a:gd name="connsiteY70" fmla="*/ 240304 h 776874"/>
                <a:gd name="connsiteX71" fmla="*/ 3817211 w 7067314"/>
                <a:gd name="connsiteY71" fmla="*/ 240304 h 776874"/>
                <a:gd name="connsiteX72" fmla="*/ 3828398 w 7067314"/>
                <a:gd name="connsiteY72" fmla="*/ 240304 h 776874"/>
                <a:gd name="connsiteX73" fmla="*/ 3839686 w 7067314"/>
                <a:gd name="connsiteY73" fmla="*/ 240304 h 776874"/>
                <a:gd name="connsiteX74" fmla="*/ 3845279 w 7067314"/>
                <a:gd name="connsiteY74" fmla="*/ 240304 h 776874"/>
                <a:gd name="connsiteX75" fmla="*/ 3895823 w 7067314"/>
                <a:gd name="connsiteY75" fmla="*/ 240304 h 776874"/>
                <a:gd name="connsiteX76" fmla="*/ 4176508 w 7067314"/>
                <a:gd name="connsiteY76" fmla="*/ 240304 h 776874"/>
                <a:gd name="connsiteX77" fmla="*/ 4255120 w 7067314"/>
                <a:gd name="connsiteY77" fmla="*/ 240304 h 776874"/>
                <a:gd name="connsiteX78" fmla="*/ 4378479 w 7067314"/>
                <a:gd name="connsiteY78" fmla="*/ 240304 h 776874"/>
                <a:gd name="connsiteX79" fmla="*/ 4799608 w 7067314"/>
                <a:gd name="connsiteY79" fmla="*/ 240304 h 776874"/>
                <a:gd name="connsiteX80" fmla="*/ 4805201 w 7067314"/>
                <a:gd name="connsiteY80" fmla="*/ 240304 h 776874"/>
                <a:gd name="connsiteX81" fmla="*/ 4838863 w 7067314"/>
                <a:gd name="connsiteY81" fmla="*/ 240304 h 776874"/>
                <a:gd name="connsiteX82" fmla="*/ 4844457 w 7067314"/>
                <a:gd name="connsiteY82" fmla="*/ 240304 h 776874"/>
                <a:gd name="connsiteX83" fmla="*/ 4883813 w 7067314"/>
                <a:gd name="connsiteY83" fmla="*/ 240304 h 776874"/>
                <a:gd name="connsiteX84" fmla="*/ 4911882 w 7067314"/>
                <a:gd name="connsiteY84" fmla="*/ 240304 h 776874"/>
                <a:gd name="connsiteX85" fmla="*/ 4956730 w 7067314"/>
                <a:gd name="connsiteY85" fmla="*/ 240304 h 776874"/>
                <a:gd name="connsiteX86" fmla="*/ 4990494 w 7067314"/>
                <a:gd name="connsiteY86" fmla="*/ 240304 h 776874"/>
                <a:gd name="connsiteX87" fmla="*/ 5069004 w 7067314"/>
                <a:gd name="connsiteY87" fmla="*/ 240304 h 776874"/>
                <a:gd name="connsiteX88" fmla="*/ 5125141 w 7067314"/>
                <a:gd name="connsiteY88" fmla="*/ 240304 h 776874"/>
                <a:gd name="connsiteX89" fmla="*/ 5388944 w 7067314"/>
                <a:gd name="connsiteY89" fmla="*/ 240304 h 776874"/>
                <a:gd name="connsiteX90" fmla="*/ 5742647 w 7067314"/>
                <a:gd name="connsiteY90" fmla="*/ 240304 h 776874"/>
                <a:gd name="connsiteX91" fmla="*/ 5961500 w 7067314"/>
                <a:gd name="connsiteY91" fmla="*/ 240304 h 776874"/>
                <a:gd name="connsiteX92" fmla="*/ 6045706 w 7067314"/>
                <a:gd name="connsiteY92" fmla="*/ 240304 h 776874"/>
                <a:gd name="connsiteX93" fmla="*/ 6045706 w 7067314"/>
                <a:gd name="connsiteY93" fmla="*/ 776874 h 776874"/>
                <a:gd name="connsiteX94" fmla="*/ 6073774 w 7067314"/>
                <a:gd name="connsiteY94" fmla="*/ 776874 h 776874"/>
                <a:gd name="connsiteX95" fmla="*/ 6208523 w 7067314"/>
                <a:gd name="connsiteY95" fmla="*/ 776874 h 776874"/>
                <a:gd name="connsiteX96" fmla="*/ 6253372 w 7067314"/>
                <a:gd name="connsiteY96" fmla="*/ 776874 h 776874"/>
                <a:gd name="connsiteX97" fmla="*/ 7067314 w 7067314"/>
                <a:gd name="connsiteY97" fmla="*/ 776874 h 776874"/>
                <a:gd name="connsiteX0" fmla="*/ 0 w 7287008"/>
                <a:gd name="connsiteY0" fmla="*/ 0 h 776874"/>
                <a:gd name="connsiteX1" fmla="*/ 0 w 7287008"/>
                <a:gd name="connsiteY1" fmla="*/ 0 h 776874"/>
                <a:gd name="connsiteX2" fmla="*/ 5695 w 7287008"/>
                <a:gd name="connsiteY2" fmla="*/ 0 h 776874"/>
                <a:gd name="connsiteX3" fmla="*/ 443502 w 7287008"/>
                <a:gd name="connsiteY3" fmla="*/ 0 h 776874"/>
                <a:gd name="connsiteX4" fmla="*/ 460282 w 7287008"/>
                <a:gd name="connsiteY4" fmla="*/ 0 h 776874"/>
                <a:gd name="connsiteX5" fmla="*/ 460282 w 7287008"/>
                <a:gd name="connsiteY5" fmla="*/ 28337 h 776874"/>
                <a:gd name="connsiteX6" fmla="*/ 477164 w 7287008"/>
                <a:gd name="connsiteY6" fmla="*/ 28337 h 776874"/>
                <a:gd name="connsiteX7" fmla="*/ 477164 w 7287008"/>
                <a:gd name="connsiteY7" fmla="*/ 85721 h 776874"/>
                <a:gd name="connsiteX8" fmla="*/ 493944 w 7287008"/>
                <a:gd name="connsiteY8" fmla="*/ 85721 h 776874"/>
                <a:gd name="connsiteX9" fmla="*/ 505233 w 7287008"/>
                <a:gd name="connsiteY9" fmla="*/ 85721 h 776874"/>
                <a:gd name="connsiteX10" fmla="*/ 505233 w 7287008"/>
                <a:gd name="connsiteY10" fmla="*/ 114972 h 776874"/>
                <a:gd name="connsiteX11" fmla="*/ 516521 w 7287008"/>
                <a:gd name="connsiteY11" fmla="*/ 114972 h 776874"/>
                <a:gd name="connsiteX12" fmla="*/ 746560 w 7287008"/>
                <a:gd name="connsiteY12" fmla="*/ 114972 h 776874"/>
                <a:gd name="connsiteX13" fmla="*/ 836461 w 7287008"/>
                <a:gd name="connsiteY13" fmla="*/ 114972 h 776874"/>
                <a:gd name="connsiteX14" fmla="*/ 903785 w 7287008"/>
                <a:gd name="connsiteY14" fmla="*/ 114972 h 776874"/>
                <a:gd name="connsiteX15" fmla="*/ 903785 w 7287008"/>
                <a:gd name="connsiteY15" fmla="*/ 145137 h 776874"/>
                <a:gd name="connsiteX16" fmla="*/ 982397 w 7287008"/>
                <a:gd name="connsiteY16" fmla="*/ 145137 h 776874"/>
                <a:gd name="connsiteX17" fmla="*/ 987990 w 7287008"/>
                <a:gd name="connsiteY17" fmla="*/ 145137 h 776874"/>
                <a:gd name="connsiteX18" fmla="*/ 1016058 w 7287008"/>
                <a:gd name="connsiteY18" fmla="*/ 145137 h 776874"/>
                <a:gd name="connsiteX19" fmla="*/ 1038534 w 7287008"/>
                <a:gd name="connsiteY19" fmla="*/ 145137 h 776874"/>
                <a:gd name="connsiteX20" fmla="*/ 1038534 w 7287008"/>
                <a:gd name="connsiteY20" fmla="*/ 176419 h 776874"/>
                <a:gd name="connsiteX21" fmla="*/ 1392237 w 7287008"/>
                <a:gd name="connsiteY21" fmla="*/ 176419 h 776874"/>
                <a:gd name="connsiteX22" fmla="*/ 1392237 w 7287008"/>
                <a:gd name="connsiteY22" fmla="*/ 207600 h 776874"/>
                <a:gd name="connsiteX23" fmla="*/ 1403424 w 7287008"/>
                <a:gd name="connsiteY23" fmla="*/ 207600 h 776874"/>
                <a:gd name="connsiteX24" fmla="*/ 1863706 w 7287008"/>
                <a:gd name="connsiteY24" fmla="*/ 207600 h 776874"/>
                <a:gd name="connsiteX25" fmla="*/ 1891775 w 7287008"/>
                <a:gd name="connsiteY25" fmla="*/ 207600 h 776874"/>
                <a:gd name="connsiteX26" fmla="*/ 1931030 w 7287008"/>
                <a:gd name="connsiteY26" fmla="*/ 207600 h 776874"/>
                <a:gd name="connsiteX27" fmla="*/ 2093847 w 7287008"/>
                <a:gd name="connsiteY27" fmla="*/ 207600 h 776874"/>
                <a:gd name="connsiteX28" fmla="*/ 2093847 w 7287008"/>
                <a:gd name="connsiteY28" fmla="*/ 240304 h 776874"/>
                <a:gd name="connsiteX29" fmla="*/ 2267852 w 7287008"/>
                <a:gd name="connsiteY29" fmla="*/ 240304 h 776874"/>
                <a:gd name="connsiteX30" fmla="*/ 2307208 w 7287008"/>
                <a:gd name="connsiteY30" fmla="*/ 240304 h 776874"/>
                <a:gd name="connsiteX31" fmla="*/ 2312802 w 7287008"/>
                <a:gd name="connsiteY31" fmla="*/ 240304 h 776874"/>
                <a:gd name="connsiteX32" fmla="*/ 2318395 w 7287008"/>
                <a:gd name="connsiteY32" fmla="*/ 240304 h 776874"/>
                <a:gd name="connsiteX33" fmla="*/ 2323988 w 7287008"/>
                <a:gd name="connsiteY33" fmla="*/ 240304 h 776874"/>
                <a:gd name="connsiteX34" fmla="*/ 2346463 w 7287008"/>
                <a:gd name="connsiteY34" fmla="*/ 240304 h 776874"/>
                <a:gd name="connsiteX35" fmla="*/ 2352159 w 7287008"/>
                <a:gd name="connsiteY35" fmla="*/ 240304 h 776874"/>
                <a:gd name="connsiteX36" fmla="*/ 2363244 w 7287008"/>
                <a:gd name="connsiteY36" fmla="*/ 240304 h 776874"/>
                <a:gd name="connsiteX37" fmla="*/ 2368939 w 7287008"/>
                <a:gd name="connsiteY37" fmla="*/ 240304 h 776874"/>
                <a:gd name="connsiteX38" fmla="*/ 2385821 w 7287008"/>
                <a:gd name="connsiteY38" fmla="*/ 240304 h 776874"/>
                <a:gd name="connsiteX39" fmla="*/ 2391414 w 7287008"/>
                <a:gd name="connsiteY39" fmla="*/ 240304 h 776874"/>
                <a:gd name="connsiteX40" fmla="*/ 2402601 w 7287008"/>
                <a:gd name="connsiteY40" fmla="*/ 240304 h 776874"/>
                <a:gd name="connsiteX41" fmla="*/ 2441856 w 7287008"/>
                <a:gd name="connsiteY41" fmla="*/ 240304 h 776874"/>
                <a:gd name="connsiteX42" fmla="*/ 2559825 w 7287008"/>
                <a:gd name="connsiteY42" fmla="*/ 240304 h 776874"/>
                <a:gd name="connsiteX43" fmla="*/ 2761897 w 7287008"/>
                <a:gd name="connsiteY43" fmla="*/ 240304 h 776874"/>
                <a:gd name="connsiteX44" fmla="*/ 2795559 w 7287008"/>
                <a:gd name="connsiteY44" fmla="*/ 240304 h 776874"/>
                <a:gd name="connsiteX45" fmla="*/ 2818034 w 7287008"/>
                <a:gd name="connsiteY45" fmla="*/ 240304 h 776874"/>
                <a:gd name="connsiteX46" fmla="*/ 2823628 w 7287008"/>
                <a:gd name="connsiteY46" fmla="*/ 240304 h 776874"/>
                <a:gd name="connsiteX47" fmla="*/ 2834814 w 7287008"/>
                <a:gd name="connsiteY47" fmla="*/ 240304 h 776874"/>
                <a:gd name="connsiteX48" fmla="*/ 2840408 w 7287008"/>
                <a:gd name="connsiteY48" fmla="*/ 240304 h 776874"/>
                <a:gd name="connsiteX49" fmla="*/ 2857290 w 7287008"/>
                <a:gd name="connsiteY49" fmla="*/ 240304 h 776874"/>
                <a:gd name="connsiteX50" fmla="*/ 2874070 w 7287008"/>
                <a:gd name="connsiteY50" fmla="*/ 240304 h 776874"/>
                <a:gd name="connsiteX51" fmla="*/ 2890951 w 7287008"/>
                <a:gd name="connsiteY51" fmla="*/ 240304 h 776874"/>
                <a:gd name="connsiteX52" fmla="*/ 3104313 w 7287008"/>
                <a:gd name="connsiteY52" fmla="*/ 240304 h 776874"/>
                <a:gd name="connsiteX53" fmla="*/ 3227773 w 7287008"/>
                <a:gd name="connsiteY53" fmla="*/ 240304 h 776874"/>
                <a:gd name="connsiteX54" fmla="*/ 3261435 w 7287008"/>
                <a:gd name="connsiteY54" fmla="*/ 240304 h 776874"/>
                <a:gd name="connsiteX55" fmla="*/ 3283910 w 7287008"/>
                <a:gd name="connsiteY55" fmla="*/ 240304 h 776874"/>
                <a:gd name="connsiteX56" fmla="*/ 3289503 w 7287008"/>
                <a:gd name="connsiteY56" fmla="*/ 240304 h 776874"/>
                <a:gd name="connsiteX57" fmla="*/ 3306385 w 7287008"/>
                <a:gd name="connsiteY57" fmla="*/ 240304 h 776874"/>
                <a:gd name="connsiteX58" fmla="*/ 3311978 w 7287008"/>
                <a:gd name="connsiteY58" fmla="*/ 240304 h 776874"/>
                <a:gd name="connsiteX59" fmla="*/ 3317572 w 7287008"/>
                <a:gd name="connsiteY59" fmla="*/ 240304 h 776874"/>
                <a:gd name="connsiteX60" fmla="*/ 3334454 w 7287008"/>
                <a:gd name="connsiteY60" fmla="*/ 240304 h 776874"/>
                <a:gd name="connsiteX61" fmla="*/ 3373709 w 7287008"/>
                <a:gd name="connsiteY61" fmla="*/ 240304 h 776874"/>
                <a:gd name="connsiteX62" fmla="*/ 3508458 w 7287008"/>
                <a:gd name="connsiteY62" fmla="*/ 240304 h 776874"/>
                <a:gd name="connsiteX63" fmla="*/ 3659987 w 7287008"/>
                <a:gd name="connsiteY63" fmla="*/ 240304 h 776874"/>
                <a:gd name="connsiteX64" fmla="*/ 3744294 w 7287008"/>
                <a:gd name="connsiteY64" fmla="*/ 240304 h 776874"/>
                <a:gd name="connsiteX65" fmla="*/ 3755379 w 7287008"/>
                <a:gd name="connsiteY65" fmla="*/ 240304 h 776874"/>
                <a:gd name="connsiteX66" fmla="*/ 3766668 w 7287008"/>
                <a:gd name="connsiteY66" fmla="*/ 240304 h 776874"/>
                <a:gd name="connsiteX67" fmla="*/ 3772261 w 7287008"/>
                <a:gd name="connsiteY67" fmla="*/ 240304 h 776874"/>
                <a:gd name="connsiteX68" fmla="*/ 3777956 w 7287008"/>
                <a:gd name="connsiteY68" fmla="*/ 240304 h 776874"/>
                <a:gd name="connsiteX69" fmla="*/ 3789143 w 7287008"/>
                <a:gd name="connsiteY69" fmla="*/ 240304 h 776874"/>
                <a:gd name="connsiteX70" fmla="*/ 3800329 w 7287008"/>
                <a:gd name="connsiteY70" fmla="*/ 240304 h 776874"/>
                <a:gd name="connsiteX71" fmla="*/ 3817211 w 7287008"/>
                <a:gd name="connsiteY71" fmla="*/ 240304 h 776874"/>
                <a:gd name="connsiteX72" fmla="*/ 3828398 w 7287008"/>
                <a:gd name="connsiteY72" fmla="*/ 240304 h 776874"/>
                <a:gd name="connsiteX73" fmla="*/ 3839686 w 7287008"/>
                <a:gd name="connsiteY73" fmla="*/ 240304 h 776874"/>
                <a:gd name="connsiteX74" fmla="*/ 3845279 w 7287008"/>
                <a:gd name="connsiteY74" fmla="*/ 240304 h 776874"/>
                <a:gd name="connsiteX75" fmla="*/ 3895823 w 7287008"/>
                <a:gd name="connsiteY75" fmla="*/ 240304 h 776874"/>
                <a:gd name="connsiteX76" fmla="*/ 4176508 w 7287008"/>
                <a:gd name="connsiteY76" fmla="*/ 240304 h 776874"/>
                <a:gd name="connsiteX77" fmla="*/ 4255120 w 7287008"/>
                <a:gd name="connsiteY77" fmla="*/ 240304 h 776874"/>
                <a:gd name="connsiteX78" fmla="*/ 4378479 w 7287008"/>
                <a:gd name="connsiteY78" fmla="*/ 240304 h 776874"/>
                <a:gd name="connsiteX79" fmla="*/ 4799608 w 7287008"/>
                <a:gd name="connsiteY79" fmla="*/ 240304 h 776874"/>
                <a:gd name="connsiteX80" fmla="*/ 4805201 w 7287008"/>
                <a:gd name="connsiteY80" fmla="*/ 240304 h 776874"/>
                <a:gd name="connsiteX81" fmla="*/ 4838863 w 7287008"/>
                <a:gd name="connsiteY81" fmla="*/ 240304 h 776874"/>
                <a:gd name="connsiteX82" fmla="*/ 4844457 w 7287008"/>
                <a:gd name="connsiteY82" fmla="*/ 240304 h 776874"/>
                <a:gd name="connsiteX83" fmla="*/ 4883813 w 7287008"/>
                <a:gd name="connsiteY83" fmla="*/ 240304 h 776874"/>
                <a:gd name="connsiteX84" fmla="*/ 4911882 w 7287008"/>
                <a:gd name="connsiteY84" fmla="*/ 240304 h 776874"/>
                <a:gd name="connsiteX85" fmla="*/ 4956730 w 7287008"/>
                <a:gd name="connsiteY85" fmla="*/ 240304 h 776874"/>
                <a:gd name="connsiteX86" fmla="*/ 4990494 w 7287008"/>
                <a:gd name="connsiteY86" fmla="*/ 240304 h 776874"/>
                <a:gd name="connsiteX87" fmla="*/ 5069004 w 7287008"/>
                <a:gd name="connsiteY87" fmla="*/ 240304 h 776874"/>
                <a:gd name="connsiteX88" fmla="*/ 5125141 w 7287008"/>
                <a:gd name="connsiteY88" fmla="*/ 240304 h 776874"/>
                <a:gd name="connsiteX89" fmla="*/ 5388944 w 7287008"/>
                <a:gd name="connsiteY89" fmla="*/ 240304 h 776874"/>
                <a:gd name="connsiteX90" fmla="*/ 5742647 w 7287008"/>
                <a:gd name="connsiteY90" fmla="*/ 240304 h 776874"/>
                <a:gd name="connsiteX91" fmla="*/ 5961500 w 7287008"/>
                <a:gd name="connsiteY91" fmla="*/ 240304 h 776874"/>
                <a:gd name="connsiteX92" fmla="*/ 6045706 w 7287008"/>
                <a:gd name="connsiteY92" fmla="*/ 240304 h 776874"/>
                <a:gd name="connsiteX93" fmla="*/ 6045706 w 7287008"/>
                <a:gd name="connsiteY93" fmla="*/ 776874 h 776874"/>
                <a:gd name="connsiteX94" fmla="*/ 6073774 w 7287008"/>
                <a:gd name="connsiteY94" fmla="*/ 776874 h 776874"/>
                <a:gd name="connsiteX95" fmla="*/ 6208523 w 7287008"/>
                <a:gd name="connsiteY95" fmla="*/ 776874 h 776874"/>
                <a:gd name="connsiteX96" fmla="*/ 6253372 w 7287008"/>
                <a:gd name="connsiteY96" fmla="*/ 776874 h 776874"/>
                <a:gd name="connsiteX97" fmla="*/ 7287008 w 7287008"/>
                <a:gd name="connsiteY97" fmla="*/ 776874 h 776874"/>
                <a:gd name="connsiteX0" fmla="*/ 0 w 6582779"/>
                <a:gd name="connsiteY0" fmla="*/ 0 h 776874"/>
                <a:gd name="connsiteX1" fmla="*/ 0 w 6582779"/>
                <a:gd name="connsiteY1" fmla="*/ 0 h 776874"/>
                <a:gd name="connsiteX2" fmla="*/ 5695 w 6582779"/>
                <a:gd name="connsiteY2" fmla="*/ 0 h 776874"/>
                <a:gd name="connsiteX3" fmla="*/ 443502 w 6582779"/>
                <a:gd name="connsiteY3" fmla="*/ 0 h 776874"/>
                <a:gd name="connsiteX4" fmla="*/ 460282 w 6582779"/>
                <a:gd name="connsiteY4" fmla="*/ 0 h 776874"/>
                <a:gd name="connsiteX5" fmla="*/ 460282 w 6582779"/>
                <a:gd name="connsiteY5" fmla="*/ 28337 h 776874"/>
                <a:gd name="connsiteX6" fmla="*/ 477164 w 6582779"/>
                <a:gd name="connsiteY6" fmla="*/ 28337 h 776874"/>
                <a:gd name="connsiteX7" fmla="*/ 477164 w 6582779"/>
                <a:gd name="connsiteY7" fmla="*/ 85721 h 776874"/>
                <a:gd name="connsiteX8" fmla="*/ 493944 w 6582779"/>
                <a:gd name="connsiteY8" fmla="*/ 85721 h 776874"/>
                <a:gd name="connsiteX9" fmla="*/ 505233 w 6582779"/>
                <a:gd name="connsiteY9" fmla="*/ 85721 h 776874"/>
                <a:gd name="connsiteX10" fmla="*/ 505233 w 6582779"/>
                <a:gd name="connsiteY10" fmla="*/ 114972 h 776874"/>
                <a:gd name="connsiteX11" fmla="*/ 516521 w 6582779"/>
                <a:gd name="connsiteY11" fmla="*/ 114972 h 776874"/>
                <a:gd name="connsiteX12" fmla="*/ 746560 w 6582779"/>
                <a:gd name="connsiteY12" fmla="*/ 114972 h 776874"/>
                <a:gd name="connsiteX13" fmla="*/ 836461 w 6582779"/>
                <a:gd name="connsiteY13" fmla="*/ 114972 h 776874"/>
                <a:gd name="connsiteX14" fmla="*/ 903785 w 6582779"/>
                <a:gd name="connsiteY14" fmla="*/ 114972 h 776874"/>
                <a:gd name="connsiteX15" fmla="*/ 903785 w 6582779"/>
                <a:gd name="connsiteY15" fmla="*/ 145137 h 776874"/>
                <a:gd name="connsiteX16" fmla="*/ 982397 w 6582779"/>
                <a:gd name="connsiteY16" fmla="*/ 145137 h 776874"/>
                <a:gd name="connsiteX17" fmla="*/ 987990 w 6582779"/>
                <a:gd name="connsiteY17" fmla="*/ 145137 h 776874"/>
                <a:gd name="connsiteX18" fmla="*/ 1016058 w 6582779"/>
                <a:gd name="connsiteY18" fmla="*/ 145137 h 776874"/>
                <a:gd name="connsiteX19" fmla="*/ 1038534 w 6582779"/>
                <a:gd name="connsiteY19" fmla="*/ 145137 h 776874"/>
                <a:gd name="connsiteX20" fmla="*/ 1038534 w 6582779"/>
                <a:gd name="connsiteY20" fmla="*/ 176419 h 776874"/>
                <a:gd name="connsiteX21" fmla="*/ 1392237 w 6582779"/>
                <a:gd name="connsiteY21" fmla="*/ 176419 h 776874"/>
                <a:gd name="connsiteX22" fmla="*/ 1392237 w 6582779"/>
                <a:gd name="connsiteY22" fmla="*/ 207600 h 776874"/>
                <a:gd name="connsiteX23" fmla="*/ 1403424 w 6582779"/>
                <a:gd name="connsiteY23" fmla="*/ 207600 h 776874"/>
                <a:gd name="connsiteX24" fmla="*/ 1863706 w 6582779"/>
                <a:gd name="connsiteY24" fmla="*/ 207600 h 776874"/>
                <a:gd name="connsiteX25" fmla="*/ 1891775 w 6582779"/>
                <a:gd name="connsiteY25" fmla="*/ 207600 h 776874"/>
                <a:gd name="connsiteX26" fmla="*/ 1931030 w 6582779"/>
                <a:gd name="connsiteY26" fmla="*/ 207600 h 776874"/>
                <a:gd name="connsiteX27" fmla="*/ 2093847 w 6582779"/>
                <a:gd name="connsiteY27" fmla="*/ 207600 h 776874"/>
                <a:gd name="connsiteX28" fmla="*/ 2093847 w 6582779"/>
                <a:gd name="connsiteY28" fmla="*/ 240304 h 776874"/>
                <a:gd name="connsiteX29" fmla="*/ 2267852 w 6582779"/>
                <a:gd name="connsiteY29" fmla="*/ 240304 h 776874"/>
                <a:gd name="connsiteX30" fmla="*/ 2307208 w 6582779"/>
                <a:gd name="connsiteY30" fmla="*/ 240304 h 776874"/>
                <a:gd name="connsiteX31" fmla="*/ 2312802 w 6582779"/>
                <a:gd name="connsiteY31" fmla="*/ 240304 h 776874"/>
                <a:gd name="connsiteX32" fmla="*/ 2318395 w 6582779"/>
                <a:gd name="connsiteY32" fmla="*/ 240304 h 776874"/>
                <a:gd name="connsiteX33" fmla="*/ 2323988 w 6582779"/>
                <a:gd name="connsiteY33" fmla="*/ 240304 h 776874"/>
                <a:gd name="connsiteX34" fmla="*/ 2346463 w 6582779"/>
                <a:gd name="connsiteY34" fmla="*/ 240304 h 776874"/>
                <a:gd name="connsiteX35" fmla="*/ 2352159 w 6582779"/>
                <a:gd name="connsiteY35" fmla="*/ 240304 h 776874"/>
                <a:gd name="connsiteX36" fmla="*/ 2363244 w 6582779"/>
                <a:gd name="connsiteY36" fmla="*/ 240304 h 776874"/>
                <a:gd name="connsiteX37" fmla="*/ 2368939 w 6582779"/>
                <a:gd name="connsiteY37" fmla="*/ 240304 h 776874"/>
                <a:gd name="connsiteX38" fmla="*/ 2385821 w 6582779"/>
                <a:gd name="connsiteY38" fmla="*/ 240304 h 776874"/>
                <a:gd name="connsiteX39" fmla="*/ 2391414 w 6582779"/>
                <a:gd name="connsiteY39" fmla="*/ 240304 h 776874"/>
                <a:gd name="connsiteX40" fmla="*/ 2402601 w 6582779"/>
                <a:gd name="connsiteY40" fmla="*/ 240304 h 776874"/>
                <a:gd name="connsiteX41" fmla="*/ 2441856 w 6582779"/>
                <a:gd name="connsiteY41" fmla="*/ 240304 h 776874"/>
                <a:gd name="connsiteX42" fmla="*/ 2559825 w 6582779"/>
                <a:gd name="connsiteY42" fmla="*/ 240304 h 776874"/>
                <a:gd name="connsiteX43" fmla="*/ 2761897 w 6582779"/>
                <a:gd name="connsiteY43" fmla="*/ 240304 h 776874"/>
                <a:gd name="connsiteX44" fmla="*/ 2795559 w 6582779"/>
                <a:gd name="connsiteY44" fmla="*/ 240304 h 776874"/>
                <a:gd name="connsiteX45" fmla="*/ 2818034 w 6582779"/>
                <a:gd name="connsiteY45" fmla="*/ 240304 h 776874"/>
                <a:gd name="connsiteX46" fmla="*/ 2823628 w 6582779"/>
                <a:gd name="connsiteY46" fmla="*/ 240304 h 776874"/>
                <a:gd name="connsiteX47" fmla="*/ 2834814 w 6582779"/>
                <a:gd name="connsiteY47" fmla="*/ 240304 h 776874"/>
                <a:gd name="connsiteX48" fmla="*/ 2840408 w 6582779"/>
                <a:gd name="connsiteY48" fmla="*/ 240304 h 776874"/>
                <a:gd name="connsiteX49" fmla="*/ 2857290 w 6582779"/>
                <a:gd name="connsiteY49" fmla="*/ 240304 h 776874"/>
                <a:gd name="connsiteX50" fmla="*/ 2874070 w 6582779"/>
                <a:gd name="connsiteY50" fmla="*/ 240304 h 776874"/>
                <a:gd name="connsiteX51" fmla="*/ 2890951 w 6582779"/>
                <a:gd name="connsiteY51" fmla="*/ 240304 h 776874"/>
                <a:gd name="connsiteX52" fmla="*/ 3104313 w 6582779"/>
                <a:gd name="connsiteY52" fmla="*/ 240304 h 776874"/>
                <a:gd name="connsiteX53" fmla="*/ 3227773 w 6582779"/>
                <a:gd name="connsiteY53" fmla="*/ 240304 h 776874"/>
                <a:gd name="connsiteX54" fmla="*/ 3261435 w 6582779"/>
                <a:gd name="connsiteY54" fmla="*/ 240304 h 776874"/>
                <a:gd name="connsiteX55" fmla="*/ 3283910 w 6582779"/>
                <a:gd name="connsiteY55" fmla="*/ 240304 h 776874"/>
                <a:gd name="connsiteX56" fmla="*/ 3289503 w 6582779"/>
                <a:gd name="connsiteY56" fmla="*/ 240304 h 776874"/>
                <a:gd name="connsiteX57" fmla="*/ 3306385 w 6582779"/>
                <a:gd name="connsiteY57" fmla="*/ 240304 h 776874"/>
                <a:gd name="connsiteX58" fmla="*/ 3311978 w 6582779"/>
                <a:gd name="connsiteY58" fmla="*/ 240304 h 776874"/>
                <a:gd name="connsiteX59" fmla="*/ 3317572 w 6582779"/>
                <a:gd name="connsiteY59" fmla="*/ 240304 h 776874"/>
                <a:gd name="connsiteX60" fmla="*/ 3334454 w 6582779"/>
                <a:gd name="connsiteY60" fmla="*/ 240304 h 776874"/>
                <a:gd name="connsiteX61" fmla="*/ 3373709 w 6582779"/>
                <a:gd name="connsiteY61" fmla="*/ 240304 h 776874"/>
                <a:gd name="connsiteX62" fmla="*/ 3508458 w 6582779"/>
                <a:gd name="connsiteY62" fmla="*/ 240304 h 776874"/>
                <a:gd name="connsiteX63" fmla="*/ 3659987 w 6582779"/>
                <a:gd name="connsiteY63" fmla="*/ 240304 h 776874"/>
                <a:gd name="connsiteX64" fmla="*/ 3744294 w 6582779"/>
                <a:gd name="connsiteY64" fmla="*/ 240304 h 776874"/>
                <a:gd name="connsiteX65" fmla="*/ 3755379 w 6582779"/>
                <a:gd name="connsiteY65" fmla="*/ 240304 h 776874"/>
                <a:gd name="connsiteX66" fmla="*/ 3766668 w 6582779"/>
                <a:gd name="connsiteY66" fmla="*/ 240304 h 776874"/>
                <a:gd name="connsiteX67" fmla="*/ 3772261 w 6582779"/>
                <a:gd name="connsiteY67" fmla="*/ 240304 h 776874"/>
                <a:gd name="connsiteX68" fmla="*/ 3777956 w 6582779"/>
                <a:gd name="connsiteY68" fmla="*/ 240304 h 776874"/>
                <a:gd name="connsiteX69" fmla="*/ 3789143 w 6582779"/>
                <a:gd name="connsiteY69" fmla="*/ 240304 h 776874"/>
                <a:gd name="connsiteX70" fmla="*/ 3800329 w 6582779"/>
                <a:gd name="connsiteY70" fmla="*/ 240304 h 776874"/>
                <a:gd name="connsiteX71" fmla="*/ 3817211 w 6582779"/>
                <a:gd name="connsiteY71" fmla="*/ 240304 h 776874"/>
                <a:gd name="connsiteX72" fmla="*/ 3828398 w 6582779"/>
                <a:gd name="connsiteY72" fmla="*/ 240304 h 776874"/>
                <a:gd name="connsiteX73" fmla="*/ 3839686 w 6582779"/>
                <a:gd name="connsiteY73" fmla="*/ 240304 h 776874"/>
                <a:gd name="connsiteX74" fmla="*/ 3845279 w 6582779"/>
                <a:gd name="connsiteY74" fmla="*/ 240304 h 776874"/>
                <a:gd name="connsiteX75" fmla="*/ 3895823 w 6582779"/>
                <a:gd name="connsiteY75" fmla="*/ 240304 h 776874"/>
                <a:gd name="connsiteX76" fmla="*/ 4176508 w 6582779"/>
                <a:gd name="connsiteY76" fmla="*/ 240304 h 776874"/>
                <a:gd name="connsiteX77" fmla="*/ 4255120 w 6582779"/>
                <a:gd name="connsiteY77" fmla="*/ 240304 h 776874"/>
                <a:gd name="connsiteX78" fmla="*/ 4378479 w 6582779"/>
                <a:gd name="connsiteY78" fmla="*/ 240304 h 776874"/>
                <a:gd name="connsiteX79" fmla="*/ 4799608 w 6582779"/>
                <a:gd name="connsiteY79" fmla="*/ 240304 h 776874"/>
                <a:gd name="connsiteX80" fmla="*/ 4805201 w 6582779"/>
                <a:gd name="connsiteY80" fmla="*/ 240304 h 776874"/>
                <a:gd name="connsiteX81" fmla="*/ 4838863 w 6582779"/>
                <a:gd name="connsiteY81" fmla="*/ 240304 h 776874"/>
                <a:gd name="connsiteX82" fmla="*/ 4844457 w 6582779"/>
                <a:gd name="connsiteY82" fmla="*/ 240304 h 776874"/>
                <a:gd name="connsiteX83" fmla="*/ 4883813 w 6582779"/>
                <a:gd name="connsiteY83" fmla="*/ 240304 h 776874"/>
                <a:gd name="connsiteX84" fmla="*/ 4911882 w 6582779"/>
                <a:gd name="connsiteY84" fmla="*/ 240304 h 776874"/>
                <a:gd name="connsiteX85" fmla="*/ 4956730 w 6582779"/>
                <a:gd name="connsiteY85" fmla="*/ 240304 h 776874"/>
                <a:gd name="connsiteX86" fmla="*/ 4990494 w 6582779"/>
                <a:gd name="connsiteY86" fmla="*/ 240304 h 776874"/>
                <a:gd name="connsiteX87" fmla="*/ 5069004 w 6582779"/>
                <a:gd name="connsiteY87" fmla="*/ 240304 h 776874"/>
                <a:gd name="connsiteX88" fmla="*/ 5125141 w 6582779"/>
                <a:gd name="connsiteY88" fmla="*/ 240304 h 776874"/>
                <a:gd name="connsiteX89" fmla="*/ 5388944 w 6582779"/>
                <a:gd name="connsiteY89" fmla="*/ 240304 h 776874"/>
                <a:gd name="connsiteX90" fmla="*/ 5742647 w 6582779"/>
                <a:gd name="connsiteY90" fmla="*/ 240304 h 776874"/>
                <a:gd name="connsiteX91" fmla="*/ 5961500 w 6582779"/>
                <a:gd name="connsiteY91" fmla="*/ 240304 h 776874"/>
                <a:gd name="connsiteX92" fmla="*/ 6045706 w 6582779"/>
                <a:gd name="connsiteY92" fmla="*/ 240304 h 776874"/>
                <a:gd name="connsiteX93" fmla="*/ 6045706 w 6582779"/>
                <a:gd name="connsiteY93" fmla="*/ 776874 h 776874"/>
                <a:gd name="connsiteX94" fmla="*/ 6073774 w 6582779"/>
                <a:gd name="connsiteY94" fmla="*/ 776874 h 776874"/>
                <a:gd name="connsiteX95" fmla="*/ 6208523 w 6582779"/>
                <a:gd name="connsiteY95" fmla="*/ 776874 h 776874"/>
                <a:gd name="connsiteX96" fmla="*/ 6253372 w 6582779"/>
                <a:gd name="connsiteY96" fmla="*/ 776874 h 776874"/>
                <a:gd name="connsiteX97" fmla="*/ 6582779 w 6582779"/>
                <a:gd name="connsiteY97" fmla="*/ 776874 h 776874"/>
                <a:gd name="connsiteX0" fmla="*/ 0 w 6582779"/>
                <a:gd name="connsiteY0" fmla="*/ 0 h 776874"/>
                <a:gd name="connsiteX1" fmla="*/ 0 w 6582779"/>
                <a:gd name="connsiteY1" fmla="*/ 0 h 776874"/>
                <a:gd name="connsiteX2" fmla="*/ 5695 w 6582779"/>
                <a:gd name="connsiteY2" fmla="*/ 0 h 776874"/>
                <a:gd name="connsiteX3" fmla="*/ 443502 w 6582779"/>
                <a:gd name="connsiteY3" fmla="*/ 0 h 776874"/>
                <a:gd name="connsiteX4" fmla="*/ 460282 w 6582779"/>
                <a:gd name="connsiteY4" fmla="*/ 0 h 776874"/>
                <a:gd name="connsiteX5" fmla="*/ 460282 w 6582779"/>
                <a:gd name="connsiteY5" fmla="*/ 28337 h 776874"/>
                <a:gd name="connsiteX6" fmla="*/ 477164 w 6582779"/>
                <a:gd name="connsiteY6" fmla="*/ 28337 h 776874"/>
                <a:gd name="connsiteX7" fmla="*/ 477164 w 6582779"/>
                <a:gd name="connsiteY7" fmla="*/ 85721 h 776874"/>
                <a:gd name="connsiteX8" fmla="*/ 493944 w 6582779"/>
                <a:gd name="connsiteY8" fmla="*/ 85721 h 776874"/>
                <a:gd name="connsiteX9" fmla="*/ 505233 w 6582779"/>
                <a:gd name="connsiteY9" fmla="*/ 85721 h 776874"/>
                <a:gd name="connsiteX10" fmla="*/ 505233 w 6582779"/>
                <a:gd name="connsiteY10" fmla="*/ 114972 h 776874"/>
                <a:gd name="connsiteX11" fmla="*/ 516521 w 6582779"/>
                <a:gd name="connsiteY11" fmla="*/ 114972 h 776874"/>
                <a:gd name="connsiteX12" fmla="*/ 746560 w 6582779"/>
                <a:gd name="connsiteY12" fmla="*/ 114972 h 776874"/>
                <a:gd name="connsiteX13" fmla="*/ 836461 w 6582779"/>
                <a:gd name="connsiteY13" fmla="*/ 114972 h 776874"/>
                <a:gd name="connsiteX14" fmla="*/ 903785 w 6582779"/>
                <a:gd name="connsiteY14" fmla="*/ 114972 h 776874"/>
                <a:gd name="connsiteX15" fmla="*/ 903785 w 6582779"/>
                <a:gd name="connsiteY15" fmla="*/ 145137 h 776874"/>
                <a:gd name="connsiteX16" fmla="*/ 982397 w 6582779"/>
                <a:gd name="connsiteY16" fmla="*/ 145137 h 776874"/>
                <a:gd name="connsiteX17" fmla="*/ 987990 w 6582779"/>
                <a:gd name="connsiteY17" fmla="*/ 145137 h 776874"/>
                <a:gd name="connsiteX18" fmla="*/ 1016058 w 6582779"/>
                <a:gd name="connsiteY18" fmla="*/ 145137 h 776874"/>
                <a:gd name="connsiteX19" fmla="*/ 1038534 w 6582779"/>
                <a:gd name="connsiteY19" fmla="*/ 145137 h 776874"/>
                <a:gd name="connsiteX20" fmla="*/ 1038534 w 6582779"/>
                <a:gd name="connsiteY20" fmla="*/ 176419 h 776874"/>
                <a:gd name="connsiteX21" fmla="*/ 1392237 w 6582779"/>
                <a:gd name="connsiteY21" fmla="*/ 176419 h 776874"/>
                <a:gd name="connsiteX22" fmla="*/ 1392237 w 6582779"/>
                <a:gd name="connsiteY22" fmla="*/ 207600 h 776874"/>
                <a:gd name="connsiteX23" fmla="*/ 1403424 w 6582779"/>
                <a:gd name="connsiteY23" fmla="*/ 207600 h 776874"/>
                <a:gd name="connsiteX24" fmla="*/ 1863706 w 6582779"/>
                <a:gd name="connsiteY24" fmla="*/ 207600 h 776874"/>
                <a:gd name="connsiteX25" fmla="*/ 1891775 w 6582779"/>
                <a:gd name="connsiteY25" fmla="*/ 207600 h 776874"/>
                <a:gd name="connsiteX26" fmla="*/ 1931030 w 6582779"/>
                <a:gd name="connsiteY26" fmla="*/ 207600 h 776874"/>
                <a:gd name="connsiteX27" fmla="*/ 2093847 w 6582779"/>
                <a:gd name="connsiteY27" fmla="*/ 207600 h 776874"/>
                <a:gd name="connsiteX28" fmla="*/ 2093847 w 6582779"/>
                <a:gd name="connsiteY28" fmla="*/ 240304 h 776874"/>
                <a:gd name="connsiteX29" fmla="*/ 2267852 w 6582779"/>
                <a:gd name="connsiteY29" fmla="*/ 240304 h 776874"/>
                <a:gd name="connsiteX30" fmla="*/ 2307208 w 6582779"/>
                <a:gd name="connsiteY30" fmla="*/ 240304 h 776874"/>
                <a:gd name="connsiteX31" fmla="*/ 2312802 w 6582779"/>
                <a:gd name="connsiteY31" fmla="*/ 240304 h 776874"/>
                <a:gd name="connsiteX32" fmla="*/ 2318395 w 6582779"/>
                <a:gd name="connsiteY32" fmla="*/ 240304 h 776874"/>
                <a:gd name="connsiteX33" fmla="*/ 2323988 w 6582779"/>
                <a:gd name="connsiteY33" fmla="*/ 240304 h 776874"/>
                <a:gd name="connsiteX34" fmla="*/ 2346463 w 6582779"/>
                <a:gd name="connsiteY34" fmla="*/ 240304 h 776874"/>
                <a:gd name="connsiteX35" fmla="*/ 2352159 w 6582779"/>
                <a:gd name="connsiteY35" fmla="*/ 240304 h 776874"/>
                <a:gd name="connsiteX36" fmla="*/ 2363244 w 6582779"/>
                <a:gd name="connsiteY36" fmla="*/ 240304 h 776874"/>
                <a:gd name="connsiteX37" fmla="*/ 2368939 w 6582779"/>
                <a:gd name="connsiteY37" fmla="*/ 240304 h 776874"/>
                <a:gd name="connsiteX38" fmla="*/ 2385821 w 6582779"/>
                <a:gd name="connsiteY38" fmla="*/ 240304 h 776874"/>
                <a:gd name="connsiteX39" fmla="*/ 2391414 w 6582779"/>
                <a:gd name="connsiteY39" fmla="*/ 240304 h 776874"/>
                <a:gd name="connsiteX40" fmla="*/ 2402601 w 6582779"/>
                <a:gd name="connsiteY40" fmla="*/ 240304 h 776874"/>
                <a:gd name="connsiteX41" fmla="*/ 2441856 w 6582779"/>
                <a:gd name="connsiteY41" fmla="*/ 240304 h 776874"/>
                <a:gd name="connsiteX42" fmla="*/ 2559825 w 6582779"/>
                <a:gd name="connsiteY42" fmla="*/ 240304 h 776874"/>
                <a:gd name="connsiteX43" fmla="*/ 2761897 w 6582779"/>
                <a:gd name="connsiteY43" fmla="*/ 240304 h 776874"/>
                <a:gd name="connsiteX44" fmla="*/ 2795559 w 6582779"/>
                <a:gd name="connsiteY44" fmla="*/ 240304 h 776874"/>
                <a:gd name="connsiteX45" fmla="*/ 2818034 w 6582779"/>
                <a:gd name="connsiteY45" fmla="*/ 240304 h 776874"/>
                <a:gd name="connsiteX46" fmla="*/ 2823628 w 6582779"/>
                <a:gd name="connsiteY46" fmla="*/ 240304 h 776874"/>
                <a:gd name="connsiteX47" fmla="*/ 2834814 w 6582779"/>
                <a:gd name="connsiteY47" fmla="*/ 240304 h 776874"/>
                <a:gd name="connsiteX48" fmla="*/ 2840408 w 6582779"/>
                <a:gd name="connsiteY48" fmla="*/ 240304 h 776874"/>
                <a:gd name="connsiteX49" fmla="*/ 2857290 w 6582779"/>
                <a:gd name="connsiteY49" fmla="*/ 240304 h 776874"/>
                <a:gd name="connsiteX50" fmla="*/ 2874070 w 6582779"/>
                <a:gd name="connsiteY50" fmla="*/ 240304 h 776874"/>
                <a:gd name="connsiteX51" fmla="*/ 2890951 w 6582779"/>
                <a:gd name="connsiteY51" fmla="*/ 240304 h 776874"/>
                <a:gd name="connsiteX52" fmla="*/ 3104313 w 6582779"/>
                <a:gd name="connsiteY52" fmla="*/ 240304 h 776874"/>
                <a:gd name="connsiteX53" fmla="*/ 3227773 w 6582779"/>
                <a:gd name="connsiteY53" fmla="*/ 240304 h 776874"/>
                <a:gd name="connsiteX54" fmla="*/ 3261435 w 6582779"/>
                <a:gd name="connsiteY54" fmla="*/ 240304 h 776874"/>
                <a:gd name="connsiteX55" fmla="*/ 3283910 w 6582779"/>
                <a:gd name="connsiteY55" fmla="*/ 240304 h 776874"/>
                <a:gd name="connsiteX56" fmla="*/ 3289503 w 6582779"/>
                <a:gd name="connsiteY56" fmla="*/ 240304 h 776874"/>
                <a:gd name="connsiteX57" fmla="*/ 3306385 w 6582779"/>
                <a:gd name="connsiteY57" fmla="*/ 240304 h 776874"/>
                <a:gd name="connsiteX58" fmla="*/ 3311978 w 6582779"/>
                <a:gd name="connsiteY58" fmla="*/ 240304 h 776874"/>
                <a:gd name="connsiteX59" fmla="*/ 3317572 w 6582779"/>
                <a:gd name="connsiteY59" fmla="*/ 240304 h 776874"/>
                <a:gd name="connsiteX60" fmla="*/ 3334454 w 6582779"/>
                <a:gd name="connsiteY60" fmla="*/ 240304 h 776874"/>
                <a:gd name="connsiteX61" fmla="*/ 3373709 w 6582779"/>
                <a:gd name="connsiteY61" fmla="*/ 240304 h 776874"/>
                <a:gd name="connsiteX62" fmla="*/ 3508458 w 6582779"/>
                <a:gd name="connsiteY62" fmla="*/ 240304 h 776874"/>
                <a:gd name="connsiteX63" fmla="*/ 3659987 w 6582779"/>
                <a:gd name="connsiteY63" fmla="*/ 240304 h 776874"/>
                <a:gd name="connsiteX64" fmla="*/ 3744294 w 6582779"/>
                <a:gd name="connsiteY64" fmla="*/ 240304 h 776874"/>
                <a:gd name="connsiteX65" fmla="*/ 3755379 w 6582779"/>
                <a:gd name="connsiteY65" fmla="*/ 240304 h 776874"/>
                <a:gd name="connsiteX66" fmla="*/ 3766668 w 6582779"/>
                <a:gd name="connsiteY66" fmla="*/ 240304 h 776874"/>
                <a:gd name="connsiteX67" fmla="*/ 3772261 w 6582779"/>
                <a:gd name="connsiteY67" fmla="*/ 240304 h 776874"/>
                <a:gd name="connsiteX68" fmla="*/ 3777956 w 6582779"/>
                <a:gd name="connsiteY68" fmla="*/ 240304 h 776874"/>
                <a:gd name="connsiteX69" fmla="*/ 3789143 w 6582779"/>
                <a:gd name="connsiteY69" fmla="*/ 240304 h 776874"/>
                <a:gd name="connsiteX70" fmla="*/ 3800329 w 6582779"/>
                <a:gd name="connsiteY70" fmla="*/ 240304 h 776874"/>
                <a:gd name="connsiteX71" fmla="*/ 3817211 w 6582779"/>
                <a:gd name="connsiteY71" fmla="*/ 240304 h 776874"/>
                <a:gd name="connsiteX72" fmla="*/ 3828398 w 6582779"/>
                <a:gd name="connsiteY72" fmla="*/ 240304 h 776874"/>
                <a:gd name="connsiteX73" fmla="*/ 3839686 w 6582779"/>
                <a:gd name="connsiteY73" fmla="*/ 240304 h 776874"/>
                <a:gd name="connsiteX74" fmla="*/ 3845279 w 6582779"/>
                <a:gd name="connsiteY74" fmla="*/ 240304 h 776874"/>
                <a:gd name="connsiteX75" fmla="*/ 3895823 w 6582779"/>
                <a:gd name="connsiteY75" fmla="*/ 240304 h 776874"/>
                <a:gd name="connsiteX76" fmla="*/ 4176508 w 6582779"/>
                <a:gd name="connsiteY76" fmla="*/ 240304 h 776874"/>
                <a:gd name="connsiteX77" fmla="*/ 4255120 w 6582779"/>
                <a:gd name="connsiteY77" fmla="*/ 240304 h 776874"/>
                <a:gd name="connsiteX78" fmla="*/ 4378479 w 6582779"/>
                <a:gd name="connsiteY78" fmla="*/ 240304 h 776874"/>
                <a:gd name="connsiteX79" fmla="*/ 4799608 w 6582779"/>
                <a:gd name="connsiteY79" fmla="*/ 240304 h 776874"/>
                <a:gd name="connsiteX80" fmla="*/ 4805201 w 6582779"/>
                <a:gd name="connsiteY80" fmla="*/ 240304 h 776874"/>
                <a:gd name="connsiteX81" fmla="*/ 4838863 w 6582779"/>
                <a:gd name="connsiteY81" fmla="*/ 240304 h 776874"/>
                <a:gd name="connsiteX82" fmla="*/ 4844457 w 6582779"/>
                <a:gd name="connsiteY82" fmla="*/ 240304 h 776874"/>
                <a:gd name="connsiteX83" fmla="*/ 4883813 w 6582779"/>
                <a:gd name="connsiteY83" fmla="*/ 240304 h 776874"/>
                <a:gd name="connsiteX84" fmla="*/ 4911882 w 6582779"/>
                <a:gd name="connsiteY84" fmla="*/ 240304 h 776874"/>
                <a:gd name="connsiteX85" fmla="*/ 4956730 w 6582779"/>
                <a:gd name="connsiteY85" fmla="*/ 240304 h 776874"/>
                <a:gd name="connsiteX86" fmla="*/ 4990494 w 6582779"/>
                <a:gd name="connsiteY86" fmla="*/ 240304 h 776874"/>
                <a:gd name="connsiteX87" fmla="*/ 5069004 w 6582779"/>
                <a:gd name="connsiteY87" fmla="*/ 240304 h 776874"/>
                <a:gd name="connsiteX88" fmla="*/ 5125141 w 6582779"/>
                <a:gd name="connsiteY88" fmla="*/ 240304 h 776874"/>
                <a:gd name="connsiteX89" fmla="*/ 5388944 w 6582779"/>
                <a:gd name="connsiteY89" fmla="*/ 240304 h 776874"/>
                <a:gd name="connsiteX90" fmla="*/ 5742647 w 6582779"/>
                <a:gd name="connsiteY90" fmla="*/ 240304 h 776874"/>
                <a:gd name="connsiteX91" fmla="*/ 5961500 w 6582779"/>
                <a:gd name="connsiteY91" fmla="*/ 240304 h 776874"/>
                <a:gd name="connsiteX92" fmla="*/ 6045706 w 6582779"/>
                <a:gd name="connsiteY92" fmla="*/ 240304 h 776874"/>
                <a:gd name="connsiteX93" fmla="*/ 6042582 w 6582779"/>
                <a:gd name="connsiteY93" fmla="*/ 721515 h 776874"/>
                <a:gd name="connsiteX94" fmla="*/ 6045706 w 6582779"/>
                <a:gd name="connsiteY94" fmla="*/ 776874 h 776874"/>
                <a:gd name="connsiteX95" fmla="*/ 6073774 w 6582779"/>
                <a:gd name="connsiteY95" fmla="*/ 776874 h 776874"/>
                <a:gd name="connsiteX96" fmla="*/ 6208523 w 6582779"/>
                <a:gd name="connsiteY96" fmla="*/ 776874 h 776874"/>
                <a:gd name="connsiteX97" fmla="*/ 6253372 w 6582779"/>
                <a:gd name="connsiteY97" fmla="*/ 776874 h 776874"/>
                <a:gd name="connsiteX98" fmla="*/ 6582779 w 6582779"/>
                <a:gd name="connsiteY98" fmla="*/ 776874 h 776874"/>
                <a:gd name="connsiteX0" fmla="*/ 0 w 6582779"/>
                <a:gd name="connsiteY0" fmla="*/ 0 h 776874"/>
                <a:gd name="connsiteX1" fmla="*/ 0 w 6582779"/>
                <a:gd name="connsiteY1" fmla="*/ 0 h 776874"/>
                <a:gd name="connsiteX2" fmla="*/ 5695 w 6582779"/>
                <a:gd name="connsiteY2" fmla="*/ 0 h 776874"/>
                <a:gd name="connsiteX3" fmla="*/ 443502 w 6582779"/>
                <a:gd name="connsiteY3" fmla="*/ 0 h 776874"/>
                <a:gd name="connsiteX4" fmla="*/ 460282 w 6582779"/>
                <a:gd name="connsiteY4" fmla="*/ 0 h 776874"/>
                <a:gd name="connsiteX5" fmla="*/ 460282 w 6582779"/>
                <a:gd name="connsiteY5" fmla="*/ 28337 h 776874"/>
                <a:gd name="connsiteX6" fmla="*/ 477164 w 6582779"/>
                <a:gd name="connsiteY6" fmla="*/ 28337 h 776874"/>
                <a:gd name="connsiteX7" fmla="*/ 477164 w 6582779"/>
                <a:gd name="connsiteY7" fmla="*/ 85721 h 776874"/>
                <a:gd name="connsiteX8" fmla="*/ 493944 w 6582779"/>
                <a:gd name="connsiteY8" fmla="*/ 85721 h 776874"/>
                <a:gd name="connsiteX9" fmla="*/ 505233 w 6582779"/>
                <a:gd name="connsiteY9" fmla="*/ 85721 h 776874"/>
                <a:gd name="connsiteX10" fmla="*/ 505233 w 6582779"/>
                <a:gd name="connsiteY10" fmla="*/ 114972 h 776874"/>
                <a:gd name="connsiteX11" fmla="*/ 516521 w 6582779"/>
                <a:gd name="connsiteY11" fmla="*/ 114972 h 776874"/>
                <a:gd name="connsiteX12" fmla="*/ 746560 w 6582779"/>
                <a:gd name="connsiteY12" fmla="*/ 114972 h 776874"/>
                <a:gd name="connsiteX13" fmla="*/ 836461 w 6582779"/>
                <a:gd name="connsiteY13" fmla="*/ 114972 h 776874"/>
                <a:gd name="connsiteX14" fmla="*/ 903785 w 6582779"/>
                <a:gd name="connsiteY14" fmla="*/ 114972 h 776874"/>
                <a:gd name="connsiteX15" fmla="*/ 903785 w 6582779"/>
                <a:gd name="connsiteY15" fmla="*/ 145137 h 776874"/>
                <a:gd name="connsiteX16" fmla="*/ 982397 w 6582779"/>
                <a:gd name="connsiteY16" fmla="*/ 145137 h 776874"/>
                <a:gd name="connsiteX17" fmla="*/ 987990 w 6582779"/>
                <a:gd name="connsiteY17" fmla="*/ 145137 h 776874"/>
                <a:gd name="connsiteX18" fmla="*/ 1016058 w 6582779"/>
                <a:gd name="connsiteY18" fmla="*/ 145137 h 776874"/>
                <a:gd name="connsiteX19" fmla="*/ 1038534 w 6582779"/>
                <a:gd name="connsiteY19" fmla="*/ 145137 h 776874"/>
                <a:gd name="connsiteX20" fmla="*/ 1038534 w 6582779"/>
                <a:gd name="connsiteY20" fmla="*/ 176419 h 776874"/>
                <a:gd name="connsiteX21" fmla="*/ 1392237 w 6582779"/>
                <a:gd name="connsiteY21" fmla="*/ 176419 h 776874"/>
                <a:gd name="connsiteX22" fmla="*/ 1392237 w 6582779"/>
                <a:gd name="connsiteY22" fmla="*/ 207600 h 776874"/>
                <a:gd name="connsiteX23" fmla="*/ 1403424 w 6582779"/>
                <a:gd name="connsiteY23" fmla="*/ 207600 h 776874"/>
                <a:gd name="connsiteX24" fmla="*/ 1863706 w 6582779"/>
                <a:gd name="connsiteY24" fmla="*/ 207600 h 776874"/>
                <a:gd name="connsiteX25" fmla="*/ 1891775 w 6582779"/>
                <a:gd name="connsiteY25" fmla="*/ 207600 h 776874"/>
                <a:gd name="connsiteX26" fmla="*/ 1931030 w 6582779"/>
                <a:gd name="connsiteY26" fmla="*/ 207600 h 776874"/>
                <a:gd name="connsiteX27" fmla="*/ 2093847 w 6582779"/>
                <a:gd name="connsiteY27" fmla="*/ 207600 h 776874"/>
                <a:gd name="connsiteX28" fmla="*/ 2093847 w 6582779"/>
                <a:gd name="connsiteY28" fmla="*/ 240304 h 776874"/>
                <a:gd name="connsiteX29" fmla="*/ 2267852 w 6582779"/>
                <a:gd name="connsiteY29" fmla="*/ 240304 h 776874"/>
                <a:gd name="connsiteX30" fmla="*/ 2307208 w 6582779"/>
                <a:gd name="connsiteY30" fmla="*/ 240304 h 776874"/>
                <a:gd name="connsiteX31" fmla="*/ 2312802 w 6582779"/>
                <a:gd name="connsiteY31" fmla="*/ 240304 h 776874"/>
                <a:gd name="connsiteX32" fmla="*/ 2318395 w 6582779"/>
                <a:gd name="connsiteY32" fmla="*/ 240304 h 776874"/>
                <a:gd name="connsiteX33" fmla="*/ 2323988 w 6582779"/>
                <a:gd name="connsiteY33" fmla="*/ 240304 h 776874"/>
                <a:gd name="connsiteX34" fmla="*/ 2346463 w 6582779"/>
                <a:gd name="connsiteY34" fmla="*/ 240304 h 776874"/>
                <a:gd name="connsiteX35" fmla="*/ 2352159 w 6582779"/>
                <a:gd name="connsiteY35" fmla="*/ 240304 h 776874"/>
                <a:gd name="connsiteX36" fmla="*/ 2363244 w 6582779"/>
                <a:gd name="connsiteY36" fmla="*/ 240304 h 776874"/>
                <a:gd name="connsiteX37" fmla="*/ 2368939 w 6582779"/>
                <a:gd name="connsiteY37" fmla="*/ 240304 h 776874"/>
                <a:gd name="connsiteX38" fmla="*/ 2385821 w 6582779"/>
                <a:gd name="connsiteY38" fmla="*/ 240304 h 776874"/>
                <a:gd name="connsiteX39" fmla="*/ 2391414 w 6582779"/>
                <a:gd name="connsiteY39" fmla="*/ 240304 h 776874"/>
                <a:gd name="connsiteX40" fmla="*/ 2402601 w 6582779"/>
                <a:gd name="connsiteY40" fmla="*/ 240304 h 776874"/>
                <a:gd name="connsiteX41" fmla="*/ 2441856 w 6582779"/>
                <a:gd name="connsiteY41" fmla="*/ 240304 h 776874"/>
                <a:gd name="connsiteX42" fmla="*/ 2559825 w 6582779"/>
                <a:gd name="connsiteY42" fmla="*/ 240304 h 776874"/>
                <a:gd name="connsiteX43" fmla="*/ 2761897 w 6582779"/>
                <a:gd name="connsiteY43" fmla="*/ 240304 h 776874"/>
                <a:gd name="connsiteX44" fmla="*/ 2795559 w 6582779"/>
                <a:gd name="connsiteY44" fmla="*/ 240304 h 776874"/>
                <a:gd name="connsiteX45" fmla="*/ 2818034 w 6582779"/>
                <a:gd name="connsiteY45" fmla="*/ 240304 h 776874"/>
                <a:gd name="connsiteX46" fmla="*/ 2823628 w 6582779"/>
                <a:gd name="connsiteY46" fmla="*/ 240304 h 776874"/>
                <a:gd name="connsiteX47" fmla="*/ 2834814 w 6582779"/>
                <a:gd name="connsiteY47" fmla="*/ 240304 h 776874"/>
                <a:gd name="connsiteX48" fmla="*/ 2840408 w 6582779"/>
                <a:gd name="connsiteY48" fmla="*/ 240304 h 776874"/>
                <a:gd name="connsiteX49" fmla="*/ 2857290 w 6582779"/>
                <a:gd name="connsiteY49" fmla="*/ 240304 h 776874"/>
                <a:gd name="connsiteX50" fmla="*/ 2874070 w 6582779"/>
                <a:gd name="connsiteY50" fmla="*/ 240304 h 776874"/>
                <a:gd name="connsiteX51" fmla="*/ 2890951 w 6582779"/>
                <a:gd name="connsiteY51" fmla="*/ 240304 h 776874"/>
                <a:gd name="connsiteX52" fmla="*/ 3104313 w 6582779"/>
                <a:gd name="connsiteY52" fmla="*/ 240304 h 776874"/>
                <a:gd name="connsiteX53" fmla="*/ 3227773 w 6582779"/>
                <a:gd name="connsiteY53" fmla="*/ 240304 h 776874"/>
                <a:gd name="connsiteX54" fmla="*/ 3261435 w 6582779"/>
                <a:gd name="connsiteY54" fmla="*/ 240304 h 776874"/>
                <a:gd name="connsiteX55" fmla="*/ 3283910 w 6582779"/>
                <a:gd name="connsiteY55" fmla="*/ 240304 h 776874"/>
                <a:gd name="connsiteX56" fmla="*/ 3289503 w 6582779"/>
                <a:gd name="connsiteY56" fmla="*/ 240304 h 776874"/>
                <a:gd name="connsiteX57" fmla="*/ 3306385 w 6582779"/>
                <a:gd name="connsiteY57" fmla="*/ 240304 h 776874"/>
                <a:gd name="connsiteX58" fmla="*/ 3311978 w 6582779"/>
                <a:gd name="connsiteY58" fmla="*/ 240304 h 776874"/>
                <a:gd name="connsiteX59" fmla="*/ 3317572 w 6582779"/>
                <a:gd name="connsiteY59" fmla="*/ 240304 h 776874"/>
                <a:gd name="connsiteX60" fmla="*/ 3334454 w 6582779"/>
                <a:gd name="connsiteY60" fmla="*/ 240304 h 776874"/>
                <a:gd name="connsiteX61" fmla="*/ 3373709 w 6582779"/>
                <a:gd name="connsiteY61" fmla="*/ 240304 h 776874"/>
                <a:gd name="connsiteX62" fmla="*/ 3508458 w 6582779"/>
                <a:gd name="connsiteY62" fmla="*/ 240304 h 776874"/>
                <a:gd name="connsiteX63" fmla="*/ 3659987 w 6582779"/>
                <a:gd name="connsiteY63" fmla="*/ 240304 h 776874"/>
                <a:gd name="connsiteX64" fmla="*/ 3744294 w 6582779"/>
                <a:gd name="connsiteY64" fmla="*/ 240304 h 776874"/>
                <a:gd name="connsiteX65" fmla="*/ 3755379 w 6582779"/>
                <a:gd name="connsiteY65" fmla="*/ 240304 h 776874"/>
                <a:gd name="connsiteX66" fmla="*/ 3766668 w 6582779"/>
                <a:gd name="connsiteY66" fmla="*/ 240304 h 776874"/>
                <a:gd name="connsiteX67" fmla="*/ 3772261 w 6582779"/>
                <a:gd name="connsiteY67" fmla="*/ 240304 h 776874"/>
                <a:gd name="connsiteX68" fmla="*/ 3777956 w 6582779"/>
                <a:gd name="connsiteY68" fmla="*/ 240304 h 776874"/>
                <a:gd name="connsiteX69" fmla="*/ 3789143 w 6582779"/>
                <a:gd name="connsiteY69" fmla="*/ 240304 h 776874"/>
                <a:gd name="connsiteX70" fmla="*/ 3800329 w 6582779"/>
                <a:gd name="connsiteY70" fmla="*/ 240304 h 776874"/>
                <a:gd name="connsiteX71" fmla="*/ 3817211 w 6582779"/>
                <a:gd name="connsiteY71" fmla="*/ 240304 h 776874"/>
                <a:gd name="connsiteX72" fmla="*/ 3828398 w 6582779"/>
                <a:gd name="connsiteY72" fmla="*/ 240304 h 776874"/>
                <a:gd name="connsiteX73" fmla="*/ 3839686 w 6582779"/>
                <a:gd name="connsiteY73" fmla="*/ 240304 h 776874"/>
                <a:gd name="connsiteX74" fmla="*/ 3845279 w 6582779"/>
                <a:gd name="connsiteY74" fmla="*/ 240304 h 776874"/>
                <a:gd name="connsiteX75" fmla="*/ 3895823 w 6582779"/>
                <a:gd name="connsiteY75" fmla="*/ 240304 h 776874"/>
                <a:gd name="connsiteX76" fmla="*/ 4176508 w 6582779"/>
                <a:gd name="connsiteY76" fmla="*/ 240304 h 776874"/>
                <a:gd name="connsiteX77" fmla="*/ 4255120 w 6582779"/>
                <a:gd name="connsiteY77" fmla="*/ 240304 h 776874"/>
                <a:gd name="connsiteX78" fmla="*/ 4378479 w 6582779"/>
                <a:gd name="connsiteY78" fmla="*/ 240304 h 776874"/>
                <a:gd name="connsiteX79" fmla="*/ 4799608 w 6582779"/>
                <a:gd name="connsiteY79" fmla="*/ 240304 h 776874"/>
                <a:gd name="connsiteX80" fmla="*/ 4805201 w 6582779"/>
                <a:gd name="connsiteY80" fmla="*/ 240304 h 776874"/>
                <a:gd name="connsiteX81" fmla="*/ 4838863 w 6582779"/>
                <a:gd name="connsiteY81" fmla="*/ 240304 h 776874"/>
                <a:gd name="connsiteX82" fmla="*/ 4844457 w 6582779"/>
                <a:gd name="connsiteY82" fmla="*/ 240304 h 776874"/>
                <a:gd name="connsiteX83" fmla="*/ 4883813 w 6582779"/>
                <a:gd name="connsiteY83" fmla="*/ 240304 h 776874"/>
                <a:gd name="connsiteX84" fmla="*/ 4911882 w 6582779"/>
                <a:gd name="connsiteY84" fmla="*/ 240304 h 776874"/>
                <a:gd name="connsiteX85" fmla="*/ 4956730 w 6582779"/>
                <a:gd name="connsiteY85" fmla="*/ 240304 h 776874"/>
                <a:gd name="connsiteX86" fmla="*/ 4990494 w 6582779"/>
                <a:gd name="connsiteY86" fmla="*/ 240304 h 776874"/>
                <a:gd name="connsiteX87" fmla="*/ 5069004 w 6582779"/>
                <a:gd name="connsiteY87" fmla="*/ 240304 h 776874"/>
                <a:gd name="connsiteX88" fmla="*/ 5125141 w 6582779"/>
                <a:gd name="connsiteY88" fmla="*/ 240304 h 776874"/>
                <a:gd name="connsiteX89" fmla="*/ 5388944 w 6582779"/>
                <a:gd name="connsiteY89" fmla="*/ 240304 h 776874"/>
                <a:gd name="connsiteX90" fmla="*/ 5742647 w 6582779"/>
                <a:gd name="connsiteY90" fmla="*/ 240304 h 776874"/>
                <a:gd name="connsiteX91" fmla="*/ 5961500 w 6582779"/>
                <a:gd name="connsiteY91" fmla="*/ 240304 h 776874"/>
                <a:gd name="connsiteX92" fmla="*/ 6045706 w 6582779"/>
                <a:gd name="connsiteY92" fmla="*/ 240304 h 776874"/>
                <a:gd name="connsiteX93" fmla="*/ 6042582 w 6582779"/>
                <a:gd name="connsiteY93" fmla="*/ 721515 h 776874"/>
                <a:gd name="connsiteX94" fmla="*/ 6073774 w 6582779"/>
                <a:gd name="connsiteY94" fmla="*/ 776874 h 776874"/>
                <a:gd name="connsiteX95" fmla="*/ 6208523 w 6582779"/>
                <a:gd name="connsiteY95" fmla="*/ 776874 h 776874"/>
                <a:gd name="connsiteX96" fmla="*/ 6253372 w 6582779"/>
                <a:gd name="connsiteY96" fmla="*/ 776874 h 776874"/>
                <a:gd name="connsiteX97" fmla="*/ 6582779 w 6582779"/>
                <a:gd name="connsiteY97" fmla="*/ 776874 h 776874"/>
                <a:gd name="connsiteX0" fmla="*/ 0 w 6582779"/>
                <a:gd name="connsiteY0" fmla="*/ 0 h 776874"/>
                <a:gd name="connsiteX1" fmla="*/ 0 w 6582779"/>
                <a:gd name="connsiteY1" fmla="*/ 0 h 776874"/>
                <a:gd name="connsiteX2" fmla="*/ 5695 w 6582779"/>
                <a:gd name="connsiteY2" fmla="*/ 0 h 776874"/>
                <a:gd name="connsiteX3" fmla="*/ 443502 w 6582779"/>
                <a:gd name="connsiteY3" fmla="*/ 0 h 776874"/>
                <a:gd name="connsiteX4" fmla="*/ 460282 w 6582779"/>
                <a:gd name="connsiteY4" fmla="*/ 0 h 776874"/>
                <a:gd name="connsiteX5" fmla="*/ 460282 w 6582779"/>
                <a:gd name="connsiteY5" fmla="*/ 28337 h 776874"/>
                <a:gd name="connsiteX6" fmla="*/ 477164 w 6582779"/>
                <a:gd name="connsiteY6" fmla="*/ 28337 h 776874"/>
                <a:gd name="connsiteX7" fmla="*/ 477164 w 6582779"/>
                <a:gd name="connsiteY7" fmla="*/ 85721 h 776874"/>
                <a:gd name="connsiteX8" fmla="*/ 493944 w 6582779"/>
                <a:gd name="connsiteY8" fmla="*/ 85721 h 776874"/>
                <a:gd name="connsiteX9" fmla="*/ 505233 w 6582779"/>
                <a:gd name="connsiteY9" fmla="*/ 85721 h 776874"/>
                <a:gd name="connsiteX10" fmla="*/ 505233 w 6582779"/>
                <a:gd name="connsiteY10" fmla="*/ 114972 h 776874"/>
                <a:gd name="connsiteX11" fmla="*/ 516521 w 6582779"/>
                <a:gd name="connsiteY11" fmla="*/ 114972 h 776874"/>
                <a:gd name="connsiteX12" fmla="*/ 746560 w 6582779"/>
                <a:gd name="connsiteY12" fmla="*/ 114972 h 776874"/>
                <a:gd name="connsiteX13" fmla="*/ 836461 w 6582779"/>
                <a:gd name="connsiteY13" fmla="*/ 114972 h 776874"/>
                <a:gd name="connsiteX14" fmla="*/ 903785 w 6582779"/>
                <a:gd name="connsiteY14" fmla="*/ 114972 h 776874"/>
                <a:gd name="connsiteX15" fmla="*/ 903785 w 6582779"/>
                <a:gd name="connsiteY15" fmla="*/ 145137 h 776874"/>
                <a:gd name="connsiteX16" fmla="*/ 982397 w 6582779"/>
                <a:gd name="connsiteY16" fmla="*/ 145137 h 776874"/>
                <a:gd name="connsiteX17" fmla="*/ 987990 w 6582779"/>
                <a:gd name="connsiteY17" fmla="*/ 145137 h 776874"/>
                <a:gd name="connsiteX18" fmla="*/ 1016058 w 6582779"/>
                <a:gd name="connsiteY18" fmla="*/ 145137 h 776874"/>
                <a:gd name="connsiteX19" fmla="*/ 1038534 w 6582779"/>
                <a:gd name="connsiteY19" fmla="*/ 145137 h 776874"/>
                <a:gd name="connsiteX20" fmla="*/ 1038534 w 6582779"/>
                <a:gd name="connsiteY20" fmla="*/ 176419 h 776874"/>
                <a:gd name="connsiteX21" fmla="*/ 1392237 w 6582779"/>
                <a:gd name="connsiteY21" fmla="*/ 176419 h 776874"/>
                <a:gd name="connsiteX22" fmla="*/ 1392237 w 6582779"/>
                <a:gd name="connsiteY22" fmla="*/ 207600 h 776874"/>
                <a:gd name="connsiteX23" fmla="*/ 1403424 w 6582779"/>
                <a:gd name="connsiteY23" fmla="*/ 207600 h 776874"/>
                <a:gd name="connsiteX24" fmla="*/ 1863706 w 6582779"/>
                <a:gd name="connsiteY24" fmla="*/ 207600 h 776874"/>
                <a:gd name="connsiteX25" fmla="*/ 1891775 w 6582779"/>
                <a:gd name="connsiteY25" fmla="*/ 207600 h 776874"/>
                <a:gd name="connsiteX26" fmla="*/ 1931030 w 6582779"/>
                <a:gd name="connsiteY26" fmla="*/ 207600 h 776874"/>
                <a:gd name="connsiteX27" fmla="*/ 2093847 w 6582779"/>
                <a:gd name="connsiteY27" fmla="*/ 207600 h 776874"/>
                <a:gd name="connsiteX28" fmla="*/ 2093847 w 6582779"/>
                <a:gd name="connsiteY28" fmla="*/ 240304 h 776874"/>
                <a:gd name="connsiteX29" fmla="*/ 2267852 w 6582779"/>
                <a:gd name="connsiteY29" fmla="*/ 240304 h 776874"/>
                <a:gd name="connsiteX30" fmla="*/ 2307208 w 6582779"/>
                <a:gd name="connsiteY30" fmla="*/ 240304 h 776874"/>
                <a:gd name="connsiteX31" fmla="*/ 2312802 w 6582779"/>
                <a:gd name="connsiteY31" fmla="*/ 240304 h 776874"/>
                <a:gd name="connsiteX32" fmla="*/ 2318395 w 6582779"/>
                <a:gd name="connsiteY32" fmla="*/ 240304 h 776874"/>
                <a:gd name="connsiteX33" fmla="*/ 2323988 w 6582779"/>
                <a:gd name="connsiteY33" fmla="*/ 240304 h 776874"/>
                <a:gd name="connsiteX34" fmla="*/ 2346463 w 6582779"/>
                <a:gd name="connsiteY34" fmla="*/ 240304 h 776874"/>
                <a:gd name="connsiteX35" fmla="*/ 2352159 w 6582779"/>
                <a:gd name="connsiteY35" fmla="*/ 240304 h 776874"/>
                <a:gd name="connsiteX36" fmla="*/ 2363244 w 6582779"/>
                <a:gd name="connsiteY36" fmla="*/ 240304 h 776874"/>
                <a:gd name="connsiteX37" fmla="*/ 2368939 w 6582779"/>
                <a:gd name="connsiteY37" fmla="*/ 240304 h 776874"/>
                <a:gd name="connsiteX38" fmla="*/ 2385821 w 6582779"/>
                <a:gd name="connsiteY38" fmla="*/ 240304 h 776874"/>
                <a:gd name="connsiteX39" fmla="*/ 2391414 w 6582779"/>
                <a:gd name="connsiteY39" fmla="*/ 240304 h 776874"/>
                <a:gd name="connsiteX40" fmla="*/ 2402601 w 6582779"/>
                <a:gd name="connsiteY40" fmla="*/ 240304 h 776874"/>
                <a:gd name="connsiteX41" fmla="*/ 2441856 w 6582779"/>
                <a:gd name="connsiteY41" fmla="*/ 240304 h 776874"/>
                <a:gd name="connsiteX42" fmla="*/ 2559825 w 6582779"/>
                <a:gd name="connsiteY42" fmla="*/ 240304 h 776874"/>
                <a:gd name="connsiteX43" fmla="*/ 2761897 w 6582779"/>
                <a:gd name="connsiteY43" fmla="*/ 240304 h 776874"/>
                <a:gd name="connsiteX44" fmla="*/ 2795559 w 6582779"/>
                <a:gd name="connsiteY44" fmla="*/ 240304 h 776874"/>
                <a:gd name="connsiteX45" fmla="*/ 2818034 w 6582779"/>
                <a:gd name="connsiteY45" fmla="*/ 240304 h 776874"/>
                <a:gd name="connsiteX46" fmla="*/ 2823628 w 6582779"/>
                <a:gd name="connsiteY46" fmla="*/ 240304 h 776874"/>
                <a:gd name="connsiteX47" fmla="*/ 2834814 w 6582779"/>
                <a:gd name="connsiteY47" fmla="*/ 240304 h 776874"/>
                <a:gd name="connsiteX48" fmla="*/ 2840408 w 6582779"/>
                <a:gd name="connsiteY48" fmla="*/ 240304 h 776874"/>
                <a:gd name="connsiteX49" fmla="*/ 2857290 w 6582779"/>
                <a:gd name="connsiteY49" fmla="*/ 240304 h 776874"/>
                <a:gd name="connsiteX50" fmla="*/ 2874070 w 6582779"/>
                <a:gd name="connsiteY50" fmla="*/ 240304 h 776874"/>
                <a:gd name="connsiteX51" fmla="*/ 2890951 w 6582779"/>
                <a:gd name="connsiteY51" fmla="*/ 240304 h 776874"/>
                <a:gd name="connsiteX52" fmla="*/ 3104313 w 6582779"/>
                <a:gd name="connsiteY52" fmla="*/ 240304 h 776874"/>
                <a:gd name="connsiteX53" fmla="*/ 3227773 w 6582779"/>
                <a:gd name="connsiteY53" fmla="*/ 240304 h 776874"/>
                <a:gd name="connsiteX54" fmla="*/ 3261435 w 6582779"/>
                <a:gd name="connsiteY54" fmla="*/ 240304 h 776874"/>
                <a:gd name="connsiteX55" fmla="*/ 3283910 w 6582779"/>
                <a:gd name="connsiteY55" fmla="*/ 240304 h 776874"/>
                <a:gd name="connsiteX56" fmla="*/ 3289503 w 6582779"/>
                <a:gd name="connsiteY56" fmla="*/ 240304 h 776874"/>
                <a:gd name="connsiteX57" fmla="*/ 3306385 w 6582779"/>
                <a:gd name="connsiteY57" fmla="*/ 240304 h 776874"/>
                <a:gd name="connsiteX58" fmla="*/ 3311978 w 6582779"/>
                <a:gd name="connsiteY58" fmla="*/ 240304 h 776874"/>
                <a:gd name="connsiteX59" fmla="*/ 3317572 w 6582779"/>
                <a:gd name="connsiteY59" fmla="*/ 240304 h 776874"/>
                <a:gd name="connsiteX60" fmla="*/ 3334454 w 6582779"/>
                <a:gd name="connsiteY60" fmla="*/ 240304 h 776874"/>
                <a:gd name="connsiteX61" fmla="*/ 3373709 w 6582779"/>
                <a:gd name="connsiteY61" fmla="*/ 240304 h 776874"/>
                <a:gd name="connsiteX62" fmla="*/ 3508458 w 6582779"/>
                <a:gd name="connsiteY62" fmla="*/ 240304 h 776874"/>
                <a:gd name="connsiteX63" fmla="*/ 3659987 w 6582779"/>
                <a:gd name="connsiteY63" fmla="*/ 240304 h 776874"/>
                <a:gd name="connsiteX64" fmla="*/ 3744294 w 6582779"/>
                <a:gd name="connsiteY64" fmla="*/ 240304 h 776874"/>
                <a:gd name="connsiteX65" fmla="*/ 3755379 w 6582779"/>
                <a:gd name="connsiteY65" fmla="*/ 240304 h 776874"/>
                <a:gd name="connsiteX66" fmla="*/ 3766668 w 6582779"/>
                <a:gd name="connsiteY66" fmla="*/ 240304 h 776874"/>
                <a:gd name="connsiteX67" fmla="*/ 3772261 w 6582779"/>
                <a:gd name="connsiteY67" fmla="*/ 240304 h 776874"/>
                <a:gd name="connsiteX68" fmla="*/ 3777956 w 6582779"/>
                <a:gd name="connsiteY68" fmla="*/ 240304 h 776874"/>
                <a:gd name="connsiteX69" fmla="*/ 3789143 w 6582779"/>
                <a:gd name="connsiteY69" fmla="*/ 240304 h 776874"/>
                <a:gd name="connsiteX70" fmla="*/ 3800329 w 6582779"/>
                <a:gd name="connsiteY70" fmla="*/ 240304 h 776874"/>
                <a:gd name="connsiteX71" fmla="*/ 3817211 w 6582779"/>
                <a:gd name="connsiteY71" fmla="*/ 240304 h 776874"/>
                <a:gd name="connsiteX72" fmla="*/ 3828398 w 6582779"/>
                <a:gd name="connsiteY72" fmla="*/ 240304 h 776874"/>
                <a:gd name="connsiteX73" fmla="*/ 3839686 w 6582779"/>
                <a:gd name="connsiteY73" fmla="*/ 240304 h 776874"/>
                <a:gd name="connsiteX74" fmla="*/ 3845279 w 6582779"/>
                <a:gd name="connsiteY74" fmla="*/ 240304 h 776874"/>
                <a:gd name="connsiteX75" fmla="*/ 3895823 w 6582779"/>
                <a:gd name="connsiteY75" fmla="*/ 240304 h 776874"/>
                <a:gd name="connsiteX76" fmla="*/ 4176508 w 6582779"/>
                <a:gd name="connsiteY76" fmla="*/ 240304 h 776874"/>
                <a:gd name="connsiteX77" fmla="*/ 4255120 w 6582779"/>
                <a:gd name="connsiteY77" fmla="*/ 240304 h 776874"/>
                <a:gd name="connsiteX78" fmla="*/ 4378479 w 6582779"/>
                <a:gd name="connsiteY78" fmla="*/ 240304 h 776874"/>
                <a:gd name="connsiteX79" fmla="*/ 4799608 w 6582779"/>
                <a:gd name="connsiteY79" fmla="*/ 240304 h 776874"/>
                <a:gd name="connsiteX80" fmla="*/ 4805201 w 6582779"/>
                <a:gd name="connsiteY80" fmla="*/ 240304 h 776874"/>
                <a:gd name="connsiteX81" fmla="*/ 4838863 w 6582779"/>
                <a:gd name="connsiteY81" fmla="*/ 240304 h 776874"/>
                <a:gd name="connsiteX82" fmla="*/ 4844457 w 6582779"/>
                <a:gd name="connsiteY82" fmla="*/ 240304 h 776874"/>
                <a:gd name="connsiteX83" fmla="*/ 4883813 w 6582779"/>
                <a:gd name="connsiteY83" fmla="*/ 240304 h 776874"/>
                <a:gd name="connsiteX84" fmla="*/ 4911882 w 6582779"/>
                <a:gd name="connsiteY84" fmla="*/ 240304 h 776874"/>
                <a:gd name="connsiteX85" fmla="*/ 4956730 w 6582779"/>
                <a:gd name="connsiteY85" fmla="*/ 240304 h 776874"/>
                <a:gd name="connsiteX86" fmla="*/ 4990494 w 6582779"/>
                <a:gd name="connsiteY86" fmla="*/ 240304 h 776874"/>
                <a:gd name="connsiteX87" fmla="*/ 5069004 w 6582779"/>
                <a:gd name="connsiteY87" fmla="*/ 240304 h 776874"/>
                <a:gd name="connsiteX88" fmla="*/ 5125141 w 6582779"/>
                <a:gd name="connsiteY88" fmla="*/ 240304 h 776874"/>
                <a:gd name="connsiteX89" fmla="*/ 5388944 w 6582779"/>
                <a:gd name="connsiteY89" fmla="*/ 240304 h 776874"/>
                <a:gd name="connsiteX90" fmla="*/ 5742647 w 6582779"/>
                <a:gd name="connsiteY90" fmla="*/ 240304 h 776874"/>
                <a:gd name="connsiteX91" fmla="*/ 5961500 w 6582779"/>
                <a:gd name="connsiteY91" fmla="*/ 240304 h 776874"/>
                <a:gd name="connsiteX92" fmla="*/ 6045706 w 6582779"/>
                <a:gd name="connsiteY92" fmla="*/ 240304 h 776874"/>
                <a:gd name="connsiteX93" fmla="*/ 6042582 w 6582779"/>
                <a:gd name="connsiteY93" fmla="*/ 721515 h 776874"/>
                <a:gd name="connsiteX94" fmla="*/ 6208523 w 6582779"/>
                <a:gd name="connsiteY94" fmla="*/ 776874 h 776874"/>
                <a:gd name="connsiteX95" fmla="*/ 6253372 w 6582779"/>
                <a:gd name="connsiteY95" fmla="*/ 776874 h 776874"/>
                <a:gd name="connsiteX96" fmla="*/ 6582779 w 6582779"/>
                <a:gd name="connsiteY96" fmla="*/ 776874 h 776874"/>
                <a:gd name="connsiteX0" fmla="*/ 0 w 6582779"/>
                <a:gd name="connsiteY0" fmla="*/ 0 h 776874"/>
                <a:gd name="connsiteX1" fmla="*/ 0 w 6582779"/>
                <a:gd name="connsiteY1" fmla="*/ 0 h 776874"/>
                <a:gd name="connsiteX2" fmla="*/ 5695 w 6582779"/>
                <a:gd name="connsiteY2" fmla="*/ 0 h 776874"/>
                <a:gd name="connsiteX3" fmla="*/ 443502 w 6582779"/>
                <a:gd name="connsiteY3" fmla="*/ 0 h 776874"/>
                <a:gd name="connsiteX4" fmla="*/ 460282 w 6582779"/>
                <a:gd name="connsiteY4" fmla="*/ 0 h 776874"/>
                <a:gd name="connsiteX5" fmla="*/ 460282 w 6582779"/>
                <a:gd name="connsiteY5" fmla="*/ 28337 h 776874"/>
                <a:gd name="connsiteX6" fmla="*/ 477164 w 6582779"/>
                <a:gd name="connsiteY6" fmla="*/ 28337 h 776874"/>
                <a:gd name="connsiteX7" fmla="*/ 477164 w 6582779"/>
                <a:gd name="connsiteY7" fmla="*/ 85721 h 776874"/>
                <a:gd name="connsiteX8" fmla="*/ 493944 w 6582779"/>
                <a:gd name="connsiteY8" fmla="*/ 85721 h 776874"/>
                <a:gd name="connsiteX9" fmla="*/ 505233 w 6582779"/>
                <a:gd name="connsiteY9" fmla="*/ 85721 h 776874"/>
                <a:gd name="connsiteX10" fmla="*/ 505233 w 6582779"/>
                <a:gd name="connsiteY10" fmla="*/ 114972 h 776874"/>
                <a:gd name="connsiteX11" fmla="*/ 516521 w 6582779"/>
                <a:gd name="connsiteY11" fmla="*/ 114972 h 776874"/>
                <a:gd name="connsiteX12" fmla="*/ 746560 w 6582779"/>
                <a:gd name="connsiteY12" fmla="*/ 114972 h 776874"/>
                <a:gd name="connsiteX13" fmla="*/ 836461 w 6582779"/>
                <a:gd name="connsiteY13" fmla="*/ 114972 h 776874"/>
                <a:gd name="connsiteX14" fmla="*/ 903785 w 6582779"/>
                <a:gd name="connsiteY14" fmla="*/ 114972 h 776874"/>
                <a:gd name="connsiteX15" fmla="*/ 903785 w 6582779"/>
                <a:gd name="connsiteY15" fmla="*/ 145137 h 776874"/>
                <a:gd name="connsiteX16" fmla="*/ 982397 w 6582779"/>
                <a:gd name="connsiteY16" fmla="*/ 145137 h 776874"/>
                <a:gd name="connsiteX17" fmla="*/ 987990 w 6582779"/>
                <a:gd name="connsiteY17" fmla="*/ 145137 h 776874"/>
                <a:gd name="connsiteX18" fmla="*/ 1016058 w 6582779"/>
                <a:gd name="connsiteY18" fmla="*/ 145137 h 776874"/>
                <a:gd name="connsiteX19" fmla="*/ 1038534 w 6582779"/>
                <a:gd name="connsiteY19" fmla="*/ 145137 h 776874"/>
                <a:gd name="connsiteX20" fmla="*/ 1038534 w 6582779"/>
                <a:gd name="connsiteY20" fmla="*/ 176419 h 776874"/>
                <a:gd name="connsiteX21" fmla="*/ 1392237 w 6582779"/>
                <a:gd name="connsiteY21" fmla="*/ 176419 h 776874"/>
                <a:gd name="connsiteX22" fmla="*/ 1392237 w 6582779"/>
                <a:gd name="connsiteY22" fmla="*/ 207600 h 776874"/>
                <a:gd name="connsiteX23" fmla="*/ 1403424 w 6582779"/>
                <a:gd name="connsiteY23" fmla="*/ 207600 h 776874"/>
                <a:gd name="connsiteX24" fmla="*/ 1863706 w 6582779"/>
                <a:gd name="connsiteY24" fmla="*/ 207600 h 776874"/>
                <a:gd name="connsiteX25" fmla="*/ 1891775 w 6582779"/>
                <a:gd name="connsiteY25" fmla="*/ 207600 h 776874"/>
                <a:gd name="connsiteX26" fmla="*/ 1931030 w 6582779"/>
                <a:gd name="connsiteY26" fmla="*/ 207600 h 776874"/>
                <a:gd name="connsiteX27" fmla="*/ 2093847 w 6582779"/>
                <a:gd name="connsiteY27" fmla="*/ 207600 h 776874"/>
                <a:gd name="connsiteX28" fmla="*/ 2093847 w 6582779"/>
                <a:gd name="connsiteY28" fmla="*/ 240304 h 776874"/>
                <a:gd name="connsiteX29" fmla="*/ 2267852 w 6582779"/>
                <a:gd name="connsiteY29" fmla="*/ 240304 h 776874"/>
                <a:gd name="connsiteX30" fmla="*/ 2307208 w 6582779"/>
                <a:gd name="connsiteY30" fmla="*/ 240304 h 776874"/>
                <a:gd name="connsiteX31" fmla="*/ 2312802 w 6582779"/>
                <a:gd name="connsiteY31" fmla="*/ 240304 h 776874"/>
                <a:gd name="connsiteX32" fmla="*/ 2318395 w 6582779"/>
                <a:gd name="connsiteY32" fmla="*/ 240304 h 776874"/>
                <a:gd name="connsiteX33" fmla="*/ 2323988 w 6582779"/>
                <a:gd name="connsiteY33" fmla="*/ 240304 h 776874"/>
                <a:gd name="connsiteX34" fmla="*/ 2346463 w 6582779"/>
                <a:gd name="connsiteY34" fmla="*/ 240304 h 776874"/>
                <a:gd name="connsiteX35" fmla="*/ 2352159 w 6582779"/>
                <a:gd name="connsiteY35" fmla="*/ 240304 h 776874"/>
                <a:gd name="connsiteX36" fmla="*/ 2363244 w 6582779"/>
                <a:gd name="connsiteY36" fmla="*/ 240304 h 776874"/>
                <a:gd name="connsiteX37" fmla="*/ 2368939 w 6582779"/>
                <a:gd name="connsiteY37" fmla="*/ 240304 h 776874"/>
                <a:gd name="connsiteX38" fmla="*/ 2385821 w 6582779"/>
                <a:gd name="connsiteY38" fmla="*/ 240304 h 776874"/>
                <a:gd name="connsiteX39" fmla="*/ 2391414 w 6582779"/>
                <a:gd name="connsiteY39" fmla="*/ 240304 h 776874"/>
                <a:gd name="connsiteX40" fmla="*/ 2402601 w 6582779"/>
                <a:gd name="connsiteY40" fmla="*/ 240304 h 776874"/>
                <a:gd name="connsiteX41" fmla="*/ 2441856 w 6582779"/>
                <a:gd name="connsiteY41" fmla="*/ 240304 h 776874"/>
                <a:gd name="connsiteX42" fmla="*/ 2559825 w 6582779"/>
                <a:gd name="connsiteY42" fmla="*/ 240304 h 776874"/>
                <a:gd name="connsiteX43" fmla="*/ 2761897 w 6582779"/>
                <a:gd name="connsiteY43" fmla="*/ 240304 h 776874"/>
                <a:gd name="connsiteX44" fmla="*/ 2795559 w 6582779"/>
                <a:gd name="connsiteY44" fmla="*/ 240304 h 776874"/>
                <a:gd name="connsiteX45" fmla="*/ 2818034 w 6582779"/>
                <a:gd name="connsiteY45" fmla="*/ 240304 h 776874"/>
                <a:gd name="connsiteX46" fmla="*/ 2823628 w 6582779"/>
                <a:gd name="connsiteY46" fmla="*/ 240304 h 776874"/>
                <a:gd name="connsiteX47" fmla="*/ 2834814 w 6582779"/>
                <a:gd name="connsiteY47" fmla="*/ 240304 h 776874"/>
                <a:gd name="connsiteX48" fmla="*/ 2840408 w 6582779"/>
                <a:gd name="connsiteY48" fmla="*/ 240304 h 776874"/>
                <a:gd name="connsiteX49" fmla="*/ 2857290 w 6582779"/>
                <a:gd name="connsiteY49" fmla="*/ 240304 h 776874"/>
                <a:gd name="connsiteX50" fmla="*/ 2874070 w 6582779"/>
                <a:gd name="connsiteY50" fmla="*/ 240304 h 776874"/>
                <a:gd name="connsiteX51" fmla="*/ 2890951 w 6582779"/>
                <a:gd name="connsiteY51" fmla="*/ 240304 h 776874"/>
                <a:gd name="connsiteX52" fmla="*/ 3104313 w 6582779"/>
                <a:gd name="connsiteY52" fmla="*/ 240304 h 776874"/>
                <a:gd name="connsiteX53" fmla="*/ 3227773 w 6582779"/>
                <a:gd name="connsiteY53" fmla="*/ 240304 h 776874"/>
                <a:gd name="connsiteX54" fmla="*/ 3261435 w 6582779"/>
                <a:gd name="connsiteY54" fmla="*/ 240304 h 776874"/>
                <a:gd name="connsiteX55" fmla="*/ 3283910 w 6582779"/>
                <a:gd name="connsiteY55" fmla="*/ 240304 h 776874"/>
                <a:gd name="connsiteX56" fmla="*/ 3289503 w 6582779"/>
                <a:gd name="connsiteY56" fmla="*/ 240304 h 776874"/>
                <a:gd name="connsiteX57" fmla="*/ 3306385 w 6582779"/>
                <a:gd name="connsiteY57" fmla="*/ 240304 h 776874"/>
                <a:gd name="connsiteX58" fmla="*/ 3311978 w 6582779"/>
                <a:gd name="connsiteY58" fmla="*/ 240304 h 776874"/>
                <a:gd name="connsiteX59" fmla="*/ 3317572 w 6582779"/>
                <a:gd name="connsiteY59" fmla="*/ 240304 h 776874"/>
                <a:gd name="connsiteX60" fmla="*/ 3334454 w 6582779"/>
                <a:gd name="connsiteY60" fmla="*/ 240304 h 776874"/>
                <a:gd name="connsiteX61" fmla="*/ 3373709 w 6582779"/>
                <a:gd name="connsiteY61" fmla="*/ 240304 h 776874"/>
                <a:gd name="connsiteX62" fmla="*/ 3508458 w 6582779"/>
                <a:gd name="connsiteY62" fmla="*/ 240304 h 776874"/>
                <a:gd name="connsiteX63" fmla="*/ 3659987 w 6582779"/>
                <a:gd name="connsiteY63" fmla="*/ 240304 h 776874"/>
                <a:gd name="connsiteX64" fmla="*/ 3744294 w 6582779"/>
                <a:gd name="connsiteY64" fmla="*/ 240304 h 776874"/>
                <a:gd name="connsiteX65" fmla="*/ 3755379 w 6582779"/>
                <a:gd name="connsiteY65" fmla="*/ 240304 h 776874"/>
                <a:gd name="connsiteX66" fmla="*/ 3766668 w 6582779"/>
                <a:gd name="connsiteY66" fmla="*/ 240304 h 776874"/>
                <a:gd name="connsiteX67" fmla="*/ 3772261 w 6582779"/>
                <a:gd name="connsiteY67" fmla="*/ 240304 h 776874"/>
                <a:gd name="connsiteX68" fmla="*/ 3777956 w 6582779"/>
                <a:gd name="connsiteY68" fmla="*/ 240304 h 776874"/>
                <a:gd name="connsiteX69" fmla="*/ 3789143 w 6582779"/>
                <a:gd name="connsiteY69" fmla="*/ 240304 h 776874"/>
                <a:gd name="connsiteX70" fmla="*/ 3800329 w 6582779"/>
                <a:gd name="connsiteY70" fmla="*/ 240304 h 776874"/>
                <a:gd name="connsiteX71" fmla="*/ 3817211 w 6582779"/>
                <a:gd name="connsiteY71" fmla="*/ 240304 h 776874"/>
                <a:gd name="connsiteX72" fmla="*/ 3828398 w 6582779"/>
                <a:gd name="connsiteY72" fmla="*/ 240304 h 776874"/>
                <a:gd name="connsiteX73" fmla="*/ 3839686 w 6582779"/>
                <a:gd name="connsiteY73" fmla="*/ 240304 h 776874"/>
                <a:gd name="connsiteX74" fmla="*/ 3845279 w 6582779"/>
                <a:gd name="connsiteY74" fmla="*/ 240304 h 776874"/>
                <a:gd name="connsiteX75" fmla="*/ 3895823 w 6582779"/>
                <a:gd name="connsiteY75" fmla="*/ 240304 h 776874"/>
                <a:gd name="connsiteX76" fmla="*/ 4176508 w 6582779"/>
                <a:gd name="connsiteY76" fmla="*/ 240304 h 776874"/>
                <a:gd name="connsiteX77" fmla="*/ 4255120 w 6582779"/>
                <a:gd name="connsiteY77" fmla="*/ 240304 h 776874"/>
                <a:gd name="connsiteX78" fmla="*/ 4378479 w 6582779"/>
                <a:gd name="connsiteY78" fmla="*/ 240304 h 776874"/>
                <a:gd name="connsiteX79" fmla="*/ 4799608 w 6582779"/>
                <a:gd name="connsiteY79" fmla="*/ 240304 h 776874"/>
                <a:gd name="connsiteX80" fmla="*/ 4805201 w 6582779"/>
                <a:gd name="connsiteY80" fmla="*/ 240304 h 776874"/>
                <a:gd name="connsiteX81" fmla="*/ 4838863 w 6582779"/>
                <a:gd name="connsiteY81" fmla="*/ 240304 h 776874"/>
                <a:gd name="connsiteX82" fmla="*/ 4844457 w 6582779"/>
                <a:gd name="connsiteY82" fmla="*/ 240304 h 776874"/>
                <a:gd name="connsiteX83" fmla="*/ 4883813 w 6582779"/>
                <a:gd name="connsiteY83" fmla="*/ 240304 h 776874"/>
                <a:gd name="connsiteX84" fmla="*/ 4911882 w 6582779"/>
                <a:gd name="connsiteY84" fmla="*/ 240304 h 776874"/>
                <a:gd name="connsiteX85" fmla="*/ 4956730 w 6582779"/>
                <a:gd name="connsiteY85" fmla="*/ 240304 h 776874"/>
                <a:gd name="connsiteX86" fmla="*/ 4990494 w 6582779"/>
                <a:gd name="connsiteY86" fmla="*/ 240304 h 776874"/>
                <a:gd name="connsiteX87" fmla="*/ 5069004 w 6582779"/>
                <a:gd name="connsiteY87" fmla="*/ 240304 h 776874"/>
                <a:gd name="connsiteX88" fmla="*/ 5125141 w 6582779"/>
                <a:gd name="connsiteY88" fmla="*/ 240304 h 776874"/>
                <a:gd name="connsiteX89" fmla="*/ 5388944 w 6582779"/>
                <a:gd name="connsiteY89" fmla="*/ 240304 h 776874"/>
                <a:gd name="connsiteX90" fmla="*/ 5742647 w 6582779"/>
                <a:gd name="connsiteY90" fmla="*/ 240304 h 776874"/>
                <a:gd name="connsiteX91" fmla="*/ 5961500 w 6582779"/>
                <a:gd name="connsiteY91" fmla="*/ 240304 h 776874"/>
                <a:gd name="connsiteX92" fmla="*/ 6045706 w 6582779"/>
                <a:gd name="connsiteY92" fmla="*/ 240304 h 776874"/>
                <a:gd name="connsiteX93" fmla="*/ 6042582 w 6582779"/>
                <a:gd name="connsiteY93" fmla="*/ 721515 h 776874"/>
                <a:gd name="connsiteX94" fmla="*/ 6253372 w 6582779"/>
                <a:gd name="connsiteY94" fmla="*/ 776874 h 776874"/>
                <a:gd name="connsiteX95" fmla="*/ 6582779 w 6582779"/>
                <a:gd name="connsiteY95" fmla="*/ 776874 h 776874"/>
                <a:gd name="connsiteX0" fmla="*/ 0 w 6582779"/>
                <a:gd name="connsiteY0" fmla="*/ 0 h 776874"/>
                <a:gd name="connsiteX1" fmla="*/ 0 w 6582779"/>
                <a:gd name="connsiteY1" fmla="*/ 0 h 776874"/>
                <a:gd name="connsiteX2" fmla="*/ 5695 w 6582779"/>
                <a:gd name="connsiteY2" fmla="*/ 0 h 776874"/>
                <a:gd name="connsiteX3" fmla="*/ 443502 w 6582779"/>
                <a:gd name="connsiteY3" fmla="*/ 0 h 776874"/>
                <a:gd name="connsiteX4" fmla="*/ 460282 w 6582779"/>
                <a:gd name="connsiteY4" fmla="*/ 0 h 776874"/>
                <a:gd name="connsiteX5" fmla="*/ 460282 w 6582779"/>
                <a:gd name="connsiteY5" fmla="*/ 28337 h 776874"/>
                <a:gd name="connsiteX6" fmla="*/ 477164 w 6582779"/>
                <a:gd name="connsiteY6" fmla="*/ 28337 h 776874"/>
                <a:gd name="connsiteX7" fmla="*/ 477164 w 6582779"/>
                <a:gd name="connsiteY7" fmla="*/ 85721 h 776874"/>
                <a:gd name="connsiteX8" fmla="*/ 493944 w 6582779"/>
                <a:gd name="connsiteY8" fmla="*/ 85721 h 776874"/>
                <a:gd name="connsiteX9" fmla="*/ 505233 w 6582779"/>
                <a:gd name="connsiteY9" fmla="*/ 85721 h 776874"/>
                <a:gd name="connsiteX10" fmla="*/ 505233 w 6582779"/>
                <a:gd name="connsiteY10" fmla="*/ 114972 h 776874"/>
                <a:gd name="connsiteX11" fmla="*/ 516521 w 6582779"/>
                <a:gd name="connsiteY11" fmla="*/ 114972 h 776874"/>
                <a:gd name="connsiteX12" fmla="*/ 746560 w 6582779"/>
                <a:gd name="connsiteY12" fmla="*/ 114972 h 776874"/>
                <a:gd name="connsiteX13" fmla="*/ 836461 w 6582779"/>
                <a:gd name="connsiteY13" fmla="*/ 114972 h 776874"/>
                <a:gd name="connsiteX14" fmla="*/ 903785 w 6582779"/>
                <a:gd name="connsiteY14" fmla="*/ 114972 h 776874"/>
                <a:gd name="connsiteX15" fmla="*/ 903785 w 6582779"/>
                <a:gd name="connsiteY15" fmla="*/ 145137 h 776874"/>
                <a:gd name="connsiteX16" fmla="*/ 982397 w 6582779"/>
                <a:gd name="connsiteY16" fmla="*/ 145137 h 776874"/>
                <a:gd name="connsiteX17" fmla="*/ 987990 w 6582779"/>
                <a:gd name="connsiteY17" fmla="*/ 145137 h 776874"/>
                <a:gd name="connsiteX18" fmla="*/ 1016058 w 6582779"/>
                <a:gd name="connsiteY18" fmla="*/ 145137 h 776874"/>
                <a:gd name="connsiteX19" fmla="*/ 1038534 w 6582779"/>
                <a:gd name="connsiteY19" fmla="*/ 145137 h 776874"/>
                <a:gd name="connsiteX20" fmla="*/ 1038534 w 6582779"/>
                <a:gd name="connsiteY20" fmla="*/ 176419 h 776874"/>
                <a:gd name="connsiteX21" fmla="*/ 1392237 w 6582779"/>
                <a:gd name="connsiteY21" fmla="*/ 176419 h 776874"/>
                <a:gd name="connsiteX22" fmla="*/ 1392237 w 6582779"/>
                <a:gd name="connsiteY22" fmla="*/ 207600 h 776874"/>
                <a:gd name="connsiteX23" fmla="*/ 1403424 w 6582779"/>
                <a:gd name="connsiteY23" fmla="*/ 207600 h 776874"/>
                <a:gd name="connsiteX24" fmla="*/ 1863706 w 6582779"/>
                <a:gd name="connsiteY24" fmla="*/ 207600 h 776874"/>
                <a:gd name="connsiteX25" fmla="*/ 1891775 w 6582779"/>
                <a:gd name="connsiteY25" fmla="*/ 207600 h 776874"/>
                <a:gd name="connsiteX26" fmla="*/ 1931030 w 6582779"/>
                <a:gd name="connsiteY26" fmla="*/ 207600 h 776874"/>
                <a:gd name="connsiteX27" fmla="*/ 2093847 w 6582779"/>
                <a:gd name="connsiteY27" fmla="*/ 207600 h 776874"/>
                <a:gd name="connsiteX28" fmla="*/ 2093847 w 6582779"/>
                <a:gd name="connsiteY28" fmla="*/ 240304 h 776874"/>
                <a:gd name="connsiteX29" fmla="*/ 2267852 w 6582779"/>
                <a:gd name="connsiteY29" fmla="*/ 240304 h 776874"/>
                <a:gd name="connsiteX30" fmla="*/ 2307208 w 6582779"/>
                <a:gd name="connsiteY30" fmla="*/ 240304 h 776874"/>
                <a:gd name="connsiteX31" fmla="*/ 2312802 w 6582779"/>
                <a:gd name="connsiteY31" fmla="*/ 240304 h 776874"/>
                <a:gd name="connsiteX32" fmla="*/ 2318395 w 6582779"/>
                <a:gd name="connsiteY32" fmla="*/ 240304 h 776874"/>
                <a:gd name="connsiteX33" fmla="*/ 2323988 w 6582779"/>
                <a:gd name="connsiteY33" fmla="*/ 240304 h 776874"/>
                <a:gd name="connsiteX34" fmla="*/ 2346463 w 6582779"/>
                <a:gd name="connsiteY34" fmla="*/ 240304 h 776874"/>
                <a:gd name="connsiteX35" fmla="*/ 2352159 w 6582779"/>
                <a:gd name="connsiteY35" fmla="*/ 240304 h 776874"/>
                <a:gd name="connsiteX36" fmla="*/ 2363244 w 6582779"/>
                <a:gd name="connsiteY36" fmla="*/ 240304 h 776874"/>
                <a:gd name="connsiteX37" fmla="*/ 2368939 w 6582779"/>
                <a:gd name="connsiteY37" fmla="*/ 240304 h 776874"/>
                <a:gd name="connsiteX38" fmla="*/ 2385821 w 6582779"/>
                <a:gd name="connsiteY38" fmla="*/ 240304 h 776874"/>
                <a:gd name="connsiteX39" fmla="*/ 2391414 w 6582779"/>
                <a:gd name="connsiteY39" fmla="*/ 240304 h 776874"/>
                <a:gd name="connsiteX40" fmla="*/ 2402601 w 6582779"/>
                <a:gd name="connsiteY40" fmla="*/ 240304 h 776874"/>
                <a:gd name="connsiteX41" fmla="*/ 2441856 w 6582779"/>
                <a:gd name="connsiteY41" fmla="*/ 240304 h 776874"/>
                <a:gd name="connsiteX42" fmla="*/ 2559825 w 6582779"/>
                <a:gd name="connsiteY42" fmla="*/ 240304 h 776874"/>
                <a:gd name="connsiteX43" fmla="*/ 2761897 w 6582779"/>
                <a:gd name="connsiteY43" fmla="*/ 240304 h 776874"/>
                <a:gd name="connsiteX44" fmla="*/ 2795559 w 6582779"/>
                <a:gd name="connsiteY44" fmla="*/ 240304 h 776874"/>
                <a:gd name="connsiteX45" fmla="*/ 2818034 w 6582779"/>
                <a:gd name="connsiteY45" fmla="*/ 240304 h 776874"/>
                <a:gd name="connsiteX46" fmla="*/ 2823628 w 6582779"/>
                <a:gd name="connsiteY46" fmla="*/ 240304 h 776874"/>
                <a:gd name="connsiteX47" fmla="*/ 2834814 w 6582779"/>
                <a:gd name="connsiteY47" fmla="*/ 240304 h 776874"/>
                <a:gd name="connsiteX48" fmla="*/ 2840408 w 6582779"/>
                <a:gd name="connsiteY48" fmla="*/ 240304 h 776874"/>
                <a:gd name="connsiteX49" fmla="*/ 2857290 w 6582779"/>
                <a:gd name="connsiteY49" fmla="*/ 240304 h 776874"/>
                <a:gd name="connsiteX50" fmla="*/ 2874070 w 6582779"/>
                <a:gd name="connsiteY50" fmla="*/ 240304 h 776874"/>
                <a:gd name="connsiteX51" fmla="*/ 2890951 w 6582779"/>
                <a:gd name="connsiteY51" fmla="*/ 240304 h 776874"/>
                <a:gd name="connsiteX52" fmla="*/ 3104313 w 6582779"/>
                <a:gd name="connsiteY52" fmla="*/ 240304 h 776874"/>
                <a:gd name="connsiteX53" fmla="*/ 3227773 w 6582779"/>
                <a:gd name="connsiteY53" fmla="*/ 240304 h 776874"/>
                <a:gd name="connsiteX54" fmla="*/ 3261435 w 6582779"/>
                <a:gd name="connsiteY54" fmla="*/ 240304 h 776874"/>
                <a:gd name="connsiteX55" fmla="*/ 3283910 w 6582779"/>
                <a:gd name="connsiteY55" fmla="*/ 240304 h 776874"/>
                <a:gd name="connsiteX56" fmla="*/ 3289503 w 6582779"/>
                <a:gd name="connsiteY56" fmla="*/ 240304 h 776874"/>
                <a:gd name="connsiteX57" fmla="*/ 3306385 w 6582779"/>
                <a:gd name="connsiteY57" fmla="*/ 240304 h 776874"/>
                <a:gd name="connsiteX58" fmla="*/ 3311978 w 6582779"/>
                <a:gd name="connsiteY58" fmla="*/ 240304 h 776874"/>
                <a:gd name="connsiteX59" fmla="*/ 3317572 w 6582779"/>
                <a:gd name="connsiteY59" fmla="*/ 240304 h 776874"/>
                <a:gd name="connsiteX60" fmla="*/ 3334454 w 6582779"/>
                <a:gd name="connsiteY60" fmla="*/ 240304 h 776874"/>
                <a:gd name="connsiteX61" fmla="*/ 3373709 w 6582779"/>
                <a:gd name="connsiteY61" fmla="*/ 240304 h 776874"/>
                <a:gd name="connsiteX62" fmla="*/ 3508458 w 6582779"/>
                <a:gd name="connsiteY62" fmla="*/ 240304 h 776874"/>
                <a:gd name="connsiteX63" fmla="*/ 3659987 w 6582779"/>
                <a:gd name="connsiteY63" fmla="*/ 240304 h 776874"/>
                <a:gd name="connsiteX64" fmla="*/ 3744294 w 6582779"/>
                <a:gd name="connsiteY64" fmla="*/ 240304 h 776874"/>
                <a:gd name="connsiteX65" fmla="*/ 3755379 w 6582779"/>
                <a:gd name="connsiteY65" fmla="*/ 240304 h 776874"/>
                <a:gd name="connsiteX66" fmla="*/ 3766668 w 6582779"/>
                <a:gd name="connsiteY66" fmla="*/ 240304 h 776874"/>
                <a:gd name="connsiteX67" fmla="*/ 3772261 w 6582779"/>
                <a:gd name="connsiteY67" fmla="*/ 240304 h 776874"/>
                <a:gd name="connsiteX68" fmla="*/ 3777956 w 6582779"/>
                <a:gd name="connsiteY68" fmla="*/ 240304 h 776874"/>
                <a:gd name="connsiteX69" fmla="*/ 3789143 w 6582779"/>
                <a:gd name="connsiteY69" fmla="*/ 240304 h 776874"/>
                <a:gd name="connsiteX70" fmla="*/ 3800329 w 6582779"/>
                <a:gd name="connsiteY70" fmla="*/ 240304 h 776874"/>
                <a:gd name="connsiteX71" fmla="*/ 3817211 w 6582779"/>
                <a:gd name="connsiteY71" fmla="*/ 240304 h 776874"/>
                <a:gd name="connsiteX72" fmla="*/ 3828398 w 6582779"/>
                <a:gd name="connsiteY72" fmla="*/ 240304 h 776874"/>
                <a:gd name="connsiteX73" fmla="*/ 3839686 w 6582779"/>
                <a:gd name="connsiteY73" fmla="*/ 240304 h 776874"/>
                <a:gd name="connsiteX74" fmla="*/ 3845279 w 6582779"/>
                <a:gd name="connsiteY74" fmla="*/ 240304 h 776874"/>
                <a:gd name="connsiteX75" fmla="*/ 3895823 w 6582779"/>
                <a:gd name="connsiteY75" fmla="*/ 240304 h 776874"/>
                <a:gd name="connsiteX76" fmla="*/ 4176508 w 6582779"/>
                <a:gd name="connsiteY76" fmla="*/ 240304 h 776874"/>
                <a:gd name="connsiteX77" fmla="*/ 4255120 w 6582779"/>
                <a:gd name="connsiteY77" fmla="*/ 240304 h 776874"/>
                <a:gd name="connsiteX78" fmla="*/ 4378479 w 6582779"/>
                <a:gd name="connsiteY78" fmla="*/ 240304 h 776874"/>
                <a:gd name="connsiteX79" fmla="*/ 4799608 w 6582779"/>
                <a:gd name="connsiteY79" fmla="*/ 240304 h 776874"/>
                <a:gd name="connsiteX80" fmla="*/ 4805201 w 6582779"/>
                <a:gd name="connsiteY80" fmla="*/ 240304 h 776874"/>
                <a:gd name="connsiteX81" fmla="*/ 4838863 w 6582779"/>
                <a:gd name="connsiteY81" fmla="*/ 240304 h 776874"/>
                <a:gd name="connsiteX82" fmla="*/ 4844457 w 6582779"/>
                <a:gd name="connsiteY82" fmla="*/ 240304 h 776874"/>
                <a:gd name="connsiteX83" fmla="*/ 4883813 w 6582779"/>
                <a:gd name="connsiteY83" fmla="*/ 240304 h 776874"/>
                <a:gd name="connsiteX84" fmla="*/ 4911882 w 6582779"/>
                <a:gd name="connsiteY84" fmla="*/ 240304 h 776874"/>
                <a:gd name="connsiteX85" fmla="*/ 4956730 w 6582779"/>
                <a:gd name="connsiteY85" fmla="*/ 240304 h 776874"/>
                <a:gd name="connsiteX86" fmla="*/ 4990494 w 6582779"/>
                <a:gd name="connsiteY86" fmla="*/ 240304 h 776874"/>
                <a:gd name="connsiteX87" fmla="*/ 5069004 w 6582779"/>
                <a:gd name="connsiteY87" fmla="*/ 240304 h 776874"/>
                <a:gd name="connsiteX88" fmla="*/ 5125141 w 6582779"/>
                <a:gd name="connsiteY88" fmla="*/ 240304 h 776874"/>
                <a:gd name="connsiteX89" fmla="*/ 5388944 w 6582779"/>
                <a:gd name="connsiteY89" fmla="*/ 240304 h 776874"/>
                <a:gd name="connsiteX90" fmla="*/ 5742647 w 6582779"/>
                <a:gd name="connsiteY90" fmla="*/ 240304 h 776874"/>
                <a:gd name="connsiteX91" fmla="*/ 5961500 w 6582779"/>
                <a:gd name="connsiteY91" fmla="*/ 240304 h 776874"/>
                <a:gd name="connsiteX92" fmla="*/ 6045706 w 6582779"/>
                <a:gd name="connsiteY92" fmla="*/ 240304 h 776874"/>
                <a:gd name="connsiteX93" fmla="*/ 6042582 w 6582779"/>
                <a:gd name="connsiteY93" fmla="*/ 721515 h 776874"/>
                <a:gd name="connsiteX94" fmla="*/ 6440037 w 6582779"/>
                <a:gd name="connsiteY94" fmla="*/ 728479 h 776874"/>
                <a:gd name="connsiteX95" fmla="*/ 6582779 w 6582779"/>
                <a:gd name="connsiteY95" fmla="*/ 776874 h 776874"/>
                <a:gd name="connsiteX0" fmla="*/ 0 w 6582779"/>
                <a:gd name="connsiteY0" fmla="*/ 0 h 776874"/>
                <a:gd name="connsiteX1" fmla="*/ 0 w 6582779"/>
                <a:gd name="connsiteY1" fmla="*/ 0 h 776874"/>
                <a:gd name="connsiteX2" fmla="*/ 5695 w 6582779"/>
                <a:gd name="connsiteY2" fmla="*/ 0 h 776874"/>
                <a:gd name="connsiteX3" fmla="*/ 443502 w 6582779"/>
                <a:gd name="connsiteY3" fmla="*/ 0 h 776874"/>
                <a:gd name="connsiteX4" fmla="*/ 460282 w 6582779"/>
                <a:gd name="connsiteY4" fmla="*/ 0 h 776874"/>
                <a:gd name="connsiteX5" fmla="*/ 460282 w 6582779"/>
                <a:gd name="connsiteY5" fmla="*/ 28337 h 776874"/>
                <a:gd name="connsiteX6" fmla="*/ 477164 w 6582779"/>
                <a:gd name="connsiteY6" fmla="*/ 28337 h 776874"/>
                <a:gd name="connsiteX7" fmla="*/ 477164 w 6582779"/>
                <a:gd name="connsiteY7" fmla="*/ 85721 h 776874"/>
                <a:gd name="connsiteX8" fmla="*/ 493944 w 6582779"/>
                <a:gd name="connsiteY8" fmla="*/ 85721 h 776874"/>
                <a:gd name="connsiteX9" fmla="*/ 505233 w 6582779"/>
                <a:gd name="connsiteY9" fmla="*/ 85721 h 776874"/>
                <a:gd name="connsiteX10" fmla="*/ 505233 w 6582779"/>
                <a:gd name="connsiteY10" fmla="*/ 114972 h 776874"/>
                <a:gd name="connsiteX11" fmla="*/ 516521 w 6582779"/>
                <a:gd name="connsiteY11" fmla="*/ 114972 h 776874"/>
                <a:gd name="connsiteX12" fmla="*/ 746560 w 6582779"/>
                <a:gd name="connsiteY12" fmla="*/ 114972 h 776874"/>
                <a:gd name="connsiteX13" fmla="*/ 836461 w 6582779"/>
                <a:gd name="connsiteY13" fmla="*/ 114972 h 776874"/>
                <a:gd name="connsiteX14" fmla="*/ 903785 w 6582779"/>
                <a:gd name="connsiteY14" fmla="*/ 114972 h 776874"/>
                <a:gd name="connsiteX15" fmla="*/ 903785 w 6582779"/>
                <a:gd name="connsiteY15" fmla="*/ 145137 h 776874"/>
                <a:gd name="connsiteX16" fmla="*/ 982397 w 6582779"/>
                <a:gd name="connsiteY16" fmla="*/ 145137 h 776874"/>
                <a:gd name="connsiteX17" fmla="*/ 987990 w 6582779"/>
                <a:gd name="connsiteY17" fmla="*/ 145137 h 776874"/>
                <a:gd name="connsiteX18" fmla="*/ 1016058 w 6582779"/>
                <a:gd name="connsiteY18" fmla="*/ 145137 h 776874"/>
                <a:gd name="connsiteX19" fmla="*/ 1038534 w 6582779"/>
                <a:gd name="connsiteY19" fmla="*/ 145137 h 776874"/>
                <a:gd name="connsiteX20" fmla="*/ 1038534 w 6582779"/>
                <a:gd name="connsiteY20" fmla="*/ 176419 h 776874"/>
                <a:gd name="connsiteX21" fmla="*/ 1392237 w 6582779"/>
                <a:gd name="connsiteY21" fmla="*/ 176419 h 776874"/>
                <a:gd name="connsiteX22" fmla="*/ 1392237 w 6582779"/>
                <a:gd name="connsiteY22" fmla="*/ 207600 h 776874"/>
                <a:gd name="connsiteX23" fmla="*/ 1403424 w 6582779"/>
                <a:gd name="connsiteY23" fmla="*/ 207600 h 776874"/>
                <a:gd name="connsiteX24" fmla="*/ 1863706 w 6582779"/>
                <a:gd name="connsiteY24" fmla="*/ 207600 h 776874"/>
                <a:gd name="connsiteX25" fmla="*/ 1891775 w 6582779"/>
                <a:gd name="connsiteY25" fmla="*/ 207600 h 776874"/>
                <a:gd name="connsiteX26" fmla="*/ 1931030 w 6582779"/>
                <a:gd name="connsiteY26" fmla="*/ 207600 h 776874"/>
                <a:gd name="connsiteX27" fmla="*/ 2093847 w 6582779"/>
                <a:gd name="connsiteY27" fmla="*/ 207600 h 776874"/>
                <a:gd name="connsiteX28" fmla="*/ 2093847 w 6582779"/>
                <a:gd name="connsiteY28" fmla="*/ 240304 h 776874"/>
                <a:gd name="connsiteX29" fmla="*/ 2267852 w 6582779"/>
                <a:gd name="connsiteY29" fmla="*/ 240304 h 776874"/>
                <a:gd name="connsiteX30" fmla="*/ 2307208 w 6582779"/>
                <a:gd name="connsiteY30" fmla="*/ 240304 h 776874"/>
                <a:gd name="connsiteX31" fmla="*/ 2312802 w 6582779"/>
                <a:gd name="connsiteY31" fmla="*/ 240304 h 776874"/>
                <a:gd name="connsiteX32" fmla="*/ 2318395 w 6582779"/>
                <a:gd name="connsiteY32" fmla="*/ 240304 h 776874"/>
                <a:gd name="connsiteX33" fmla="*/ 2323988 w 6582779"/>
                <a:gd name="connsiteY33" fmla="*/ 240304 h 776874"/>
                <a:gd name="connsiteX34" fmla="*/ 2346463 w 6582779"/>
                <a:gd name="connsiteY34" fmla="*/ 240304 h 776874"/>
                <a:gd name="connsiteX35" fmla="*/ 2352159 w 6582779"/>
                <a:gd name="connsiteY35" fmla="*/ 240304 h 776874"/>
                <a:gd name="connsiteX36" fmla="*/ 2363244 w 6582779"/>
                <a:gd name="connsiteY36" fmla="*/ 240304 h 776874"/>
                <a:gd name="connsiteX37" fmla="*/ 2368939 w 6582779"/>
                <a:gd name="connsiteY37" fmla="*/ 240304 h 776874"/>
                <a:gd name="connsiteX38" fmla="*/ 2385821 w 6582779"/>
                <a:gd name="connsiteY38" fmla="*/ 240304 h 776874"/>
                <a:gd name="connsiteX39" fmla="*/ 2391414 w 6582779"/>
                <a:gd name="connsiteY39" fmla="*/ 240304 h 776874"/>
                <a:gd name="connsiteX40" fmla="*/ 2402601 w 6582779"/>
                <a:gd name="connsiteY40" fmla="*/ 240304 h 776874"/>
                <a:gd name="connsiteX41" fmla="*/ 2441856 w 6582779"/>
                <a:gd name="connsiteY41" fmla="*/ 240304 h 776874"/>
                <a:gd name="connsiteX42" fmla="*/ 2559825 w 6582779"/>
                <a:gd name="connsiteY42" fmla="*/ 240304 h 776874"/>
                <a:gd name="connsiteX43" fmla="*/ 2761897 w 6582779"/>
                <a:gd name="connsiteY43" fmla="*/ 240304 h 776874"/>
                <a:gd name="connsiteX44" fmla="*/ 2795559 w 6582779"/>
                <a:gd name="connsiteY44" fmla="*/ 240304 h 776874"/>
                <a:gd name="connsiteX45" fmla="*/ 2818034 w 6582779"/>
                <a:gd name="connsiteY45" fmla="*/ 240304 h 776874"/>
                <a:gd name="connsiteX46" fmla="*/ 2823628 w 6582779"/>
                <a:gd name="connsiteY46" fmla="*/ 240304 h 776874"/>
                <a:gd name="connsiteX47" fmla="*/ 2834814 w 6582779"/>
                <a:gd name="connsiteY47" fmla="*/ 240304 h 776874"/>
                <a:gd name="connsiteX48" fmla="*/ 2840408 w 6582779"/>
                <a:gd name="connsiteY48" fmla="*/ 240304 h 776874"/>
                <a:gd name="connsiteX49" fmla="*/ 2857290 w 6582779"/>
                <a:gd name="connsiteY49" fmla="*/ 240304 h 776874"/>
                <a:gd name="connsiteX50" fmla="*/ 2874070 w 6582779"/>
                <a:gd name="connsiteY50" fmla="*/ 240304 h 776874"/>
                <a:gd name="connsiteX51" fmla="*/ 2890951 w 6582779"/>
                <a:gd name="connsiteY51" fmla="*/ 240304 h 776874"/>
                <a:gd name="connsiteX52" fmla="*/ 3104313 w 6582779"/>
                <a:gd name="connsiteY52" fmla="*/ 240304 h 776874"/>
                <a:gd name="connsiteX53" fmla="*/ 3227773 w 6582779"/>
                <a:gd name="connsiteY53" fmla="*/ 240304 h 776874"/>
                <a:gd name="connsiteX54" fmla="*/ 3261435 w 6582779"/>
                <a:gd name="connsiteY54" fmla="*/ 240304 h 776874"/>
                <a:gd name="connsiteX55" fmla="*/ 3283910 w 6582779"/>
                <a:gd name="connsiteY55" fmla="*/ 240304 h 776874"/>
                <a:gd name="connsiteX56" fmla="*/ 3289503 w 6582779"/>
                <a:gd name="connsiteY56" fmla="*/ 240304 h 776874"/>
                <a:gd name="connsiteX57" fmla="*/ 3306385 w 6582779"/>
                <a:gd name="connsiteY57" fmla="*/ 240304 h 776874"/>
                <a:gd name="connsiteX58" fmla="*/ 3311978 w 6582779"/>
                <a:gd name="connsiteY58" fmla="*/ 240304 h 776874"/>
                <a:gd name="connsiteX59" fmla="*/ 3317572 w 6582779"/>
                <a:gd name="connsiteY59" fmla="*/ 240304 h 776874"/>
                <a:gd name="connsiteX60" fmla="*/ 3334454 w 6582779"/>
                <a:gd name="connsiteY60" fmla="*/ 240304 h 776874"/>
                <a:gd name="connsiteX61" fmla="*/ 3373709 w 6582779"/>
                <a:gd name="connsiteY61" fmla="*/ 240304 h 776874"/>
                <a:gd name="connsiteX62" fmla="*/ 3508458 w 6582779"/>
                <a:gd name="connsiteY62" fmla="*/ 240304 h 776874"/>
                <a:gd name="connsiteX63" fmla="*/ 3659987 w 6582779"/>
                <a:gd name="connsiteY63" fmla="*/ 240304 h 776874"/>
                <a:gd name="connsiteX64" fmla="*/ 3744294 w 6582779"/>
                <a:gd name="connsiteY64" fmla="*/ 240304 h 776874"/>
                <a:gd name="connsiteX65" fmla="*/ 3755379 w 6582779"/>
                <a:gd name="connsiteY65" fmla="*/ 240304 h 776874"/>
                <a:gd name="connsiteX66" fmla="*/ 3766668 w 6582779"/>
                <a:gd name="connsiteY66" fmla="*/ 240304 h 776874"/>
                <a:gd name="connsiteX67" fmla="*/ 3772261 w 6582779"/>
                <a:gd name="connsiteY67" fmla="*/ 240304 h 776874"/>
                <a:gd name="connsiteX68" fmla="*/ 3777956 w 6582779"/>
                <a:gd name="connsiteY68" fmla="*/ 240304 h 776874"/>
                <a:gd name="connsiteX69" fmla="*/ 3789143 w 6582779"/>
                <a:gd name="connsiteY69" fmla="*/ 240304 h 776874"/>
                <a:gd name="connsiteX70" fmla="*/ 3800329 w 6582779"/>
                <a:gd name="connsiteY70" fmla="*/ 240304 h 776874"/>
                <a:gd name="connsiteX71" fmla="*/ 3817211 w 6582779"/>
                <a:gd name="connsiteY71" fmla="*/ 240304 h 776874"/>
                <a:gd name="connsiteX72" fmla="*/ 3828398 w 6582779"/>
                <a:gd name="connsiteY72" fmla="*/ 240304 h 776874"/>
                <a:gd name="connsiteX73" fmla="*/ 3839686 w 6582779"/>
                <a:gd name="connsiteY73" fmla="*/ 240304 h 776874"/>
                <a:gd name="connsiteX74" fmla="*/ 3845279 w 6582779"/>
                <a:gd name="connsiteY74" fmla="*/ 240304 h 776874"/>
                <a:gd name="connsiteX75" fmla="*/ 3895823 w 6582779"/>
                <a:gd name="connsiteY75" fmla="*/ 240304 h 776874"/>
                <a:gd name="connsiteX76" fmla="*/ 4176508 w 6582779"/>
                <a:gd name="connsiteY76" fmla="*/ 240304 h 776874"/>
                <a:gd name="connsiteX77" fmla="*/ 4255120 w 6582779"/>
                <a:gd name="connsiteY77" fmla="*/ 240304 h 776874"/>
                <a:gd name="connsiteX78" fmla="*/ 4378479 w 6582779"/>
                <a:gd name="connsiteY78" fmla="*/ 240304 h 776874"/>
                <a:gd name="connsiteX79" fmla="*/ 4799608 w 6582779"/>
                <a:gd name="connsiteY79" fmla="*/ 240304 h 776874"/>
                <a:gd name="connsiteX80" fmla="*/ 4805201 w 6582779"/>
                <a:gd name="connsiteY80" fmla="*/ 240304 h 776874"/>
                <a:gd name="connsiteX81" fmla="*/ 4838863 w 6582779"/>
                <a:gd name="connsiteY81" fmla="*/ 240304 h 776874"/>
                <a:gd name="connsiteX82" fmla="*/ 4844457 w 6582779"/>
                <a:gd name="connsiteY82" fmla="*/ 240304 h 776874"/>
                <a:gd name="connsiteX83" fmla="*/ 4883813 w 6582779"/>
                <a:gd name="connsiteY83" fmla="*/ 240304 h 776874"/>
                <a:gd name="connsiteX84" fmla="*/ 4911882 w 6582779"/>
                <a:gd name="connsiteY84" fmla="*/ 240304 h 776874"/>
                <a:gd name="connsiteX85" fmla="*/ 4956730 w 6582779"/>
                <a:gd name="connsiteY85" fmla="*/ 240304 h 776874"/>
                <a:gd name="connsiteX86" fmla="*/ 4990494 w 6582779"/>
                <a:gd name="connsiteY86" fmla="*/ 240304 h 776874"/>
                <a:gd name="connsiteX87" fmla="*/ 5069004 w 6582779"/>
                <a:gd name="connsiteY87" fmla="*/ 240304 h 776874"/>
                <a:gd name="connsiteX88" fmla="*/ 5125141 w 6582779"/>
                <a:gd name="connsiteY88" fmla="*/ 240304 h 776874"/>
                <a:gd name="connsiteX89" fmla="*/ 5388944 w 6582779"/>
                <a:gd name="connsiteY89" fmla="*/ 240304 h 776874"/>
                <a:gd name="connsiteX90" fmla="*/ 5742647 w 6582779"/>
                <a:gd name="connsiteY90" fmla="*/ 240304 h 776874"/>
                <a:gd name="connsiteX91" fmla="*/ 5961500 w 6582779"/>
                <a:gd name="connsiteY91" fmla="*/ 240304 h 776874"/>
                <a:gd name="connsiteX92" fmla="*/ 6045706 w 6582779"/>
                <a:gd name="connsiteY92" fmla="*/ 240304 h 776874"/>
                <a:gd name="connsiteX93" fmla="*/ 6042582 w 6582779"/>
                <a:gd name="connsiteY93" fmla="*/ 721515 h 776874"/>
                <a:gd name="connsiteX94" fmla="*/ 6440037 w 6582779"/>
                <a:gd name="connsiteY94" fmla="*/ 728479 h 776874"/>
                <a:gd name="connsiteX95" fmla="*/ 6582779 w 6582779"/>
                <a:gd name="connsiteY95" fmla="*/ 776874 h 776874"/>
                <a:gd name="connsiteX0" fmla="*/ 0 w 6582779"/>
                <a:gd name="connsiteY0" fmla="*/ 0 h 776874"/>
                <a:gd name="connsiteX1" fmla="*/ 0 w 6582779"/>
                <a:gd name="connsiteY1" fmla="*/ 0 h 776874"/>
                <a:gd name="connsiteX2" fmla="*/ 5695 w 6582779"/>
                <a:gd name="connsiteY2" fmla="*/ 0 h 776874"/>
                <a:gd name="connsiteX3" fmla="*/ 443502 w 6582779"/>
                <a:gd name="connsiteY3" fmla="*/ 0 h 776874"/>
                <a:gd name="connsiteX4" fmla="*/ 460282 w 6582779"/>
                <a:gd name="connsiteY4" fmla="*/ 0 h 776874"/>
                <a:gd name="connsiteX5" fmla="*/ 460282 w 6582779"/>
                <a:gd name="connsiteY5" fmla="*/ 28337 h 776874"/>
                <a:gd name="connsiteX6" fmla="*/ 477164 w 6582779"/>
                <a:gd name="connsiteY6" fmla="*/ 28337 h 776874"/>
                <a:gd name="connsiteX7" fmla="*/ 477164 w 6582779"/>
                <a:gd name="connsiteY7" fmla="*/ 85721 h 776874"/>
                <a:gd name="connsiteX8" fmla="*/ 493944 w 6582779"/>
                <a:gd name="connsiteY8" fmla="*/ 85721 h 776874"/>
                <a:gd name="connsiteX9" fmla="*/ 505233 w 6582779"/>
                <a:gd name="connsiteY9" fmla="*/ 85721 h 776874"/>
                <a:gd name="connsiteX10" fmla="*/ 505233 w 6582779"/>
                <a:gd name="connsiteY10" fmla="*/ 114972 h 776874"/>
                <a:gd name="connsiteX11" fmla="*/ 516521 w 6582779"/>
                <a:gd name="connsiteY11" fmla="*/ 114972 h 776874"/>
                <a:gd name="connsiteX12" fmla="*/ 746560 w 6582779"/>
                <a:gd name="connsiteY12" fmla="*/ 114972 h 776874"/>
                <a:gd name="connsiteX13" fmla="*/ 836461 w 6582779"/>
                <a:gd name="connsiteY13" fmla="*/ 114972 h 776874"/>
                <a:gd name="connsiteX14" fmla="*/ 903785 w 6582779"/>
                <a:gd name="connsiteY14" fmla="*/ 114972 h 776874"/>
                <a:gd name="connsiteX15" fmla="*/ 903785 w 6582779"/>
                <a:gd name="connsiteY15" fmla="*/ 145137 h 776874"/>
                <a:gd name="connsiteX16" fmla="*/ 982397 w 6582779"/>
                <a:gd name="connsiteY16" fmla="*/ 145137 h 776874"/>
                <a:gd name="connsiteX17" fmla="*/ 987990 w 6582779"/>
                <a:gd name="connsiteY17" fmla="*/ 145137 h 776874"/>
                <a:gd name="connsiteX18" fmla="*/ 1016058 w 6582779"/>
                <a:gd name="connsiteY18" fmla="*/ 145137 h 776874"/>
                <a:gd name="connsiteX19" fmla="*/ 1038534 w 6582779"/>
                <a:gd name="connsiteY19" fmla="*/ 145137 h 776874"/>
                <a:gd name="connsiteX20" fmla="*/ 1038534 w 6582779"/>
                <a:gd name="connsiteY20" fmla="*/ 176419 h 776874"/>
                <a:gd name="connsiteX21" fmla="*/ 1392237 w 6582779"/>
                <a:gd name="connsiteY21" fmla="*/ 176419 h 776874"/>
                <a:gd name="connsiteX22" fmla="*/ 1392237 w 6582779"/>
                <a:gd name="connsiteY22" fmla="*/ 207600 h 776874"/>
                <a:gd name="connsiteX23" fmla="*/ 1403424 w 6582779"/>
                <a:gd name="connsiteY23" fmla="*/ 207600 h 776874"/>
                <a:gd name="connsiteX24" fmla="*/ 1863706 w 6582779"/>
                <a:gd name="connsiteY24" fmla="*/ 207600 h 776874"/>
                <a:gd name="connsiteX25" fmla="*/ 1891775 w 6582779"/>
                <a:gd name="connsiteY25" fmla="*/ 207600 h 776874"/>
                <a:gd name="connsiteX26" fmla="*/ 1931030 w 6582779"/>
                <a:gd name="connsiteY26" fmla="*/ 207600 h 776874"/>
                <a:gd name="connsiteX27" fmla="*/ 2093847 w 6582779"/>
                <a:gd name="connsiteY27" fmla="*/ 207600 h 776874"/>
                <a:gd name="connsiteX28" fmla="*/ 2093847 w 6582779"/>
                <a:gd name="connsiteY28" fmla="*/ 240304 h 776874"/>
                <a:gd name="connsiteX29" fmla="*/ 2267852 w 6582779"/>
                <a:gd name="connsiteY29" fmla="*/ 240304 h 776874"/>
                <a:gd name="connsiteX30" fmla="*/ 2307208 w 6582779"/>
                <a:gd name="connsiteY30" fmla="*/ 240304 h 776874"/>
                <a:gd name="connsiteX31" fmla="*/ 2312802 w 6582779"/>
                <a:gd name="connsiteY31" fmla="*/ 240304 h 776874"/>
                <a:gd name="connsiteX32" fmla="*/ 2318395 w 6582779"/>
                <a:gd name="connsiteY32" fmla="*/ 240304 h 776874"/>
                <a:gd name="connsiteX33" fmla="*/ 2323988 w 6582779"/>
                <a:gd name="connsiteY33" fmla="*/ 240304 h 776874"/>
                <a:gd name="connsiteX34" fmla="*/ 2346463 w 6582779"/>
                <a:gd name="connsiteY34" fmla="*/ 240304 h 776874"/>
                <a:gd name="connsiteX35" fmla="*/ 2352159 w 6582779"/>
                <a:gd name="connsiteY35" fmla="*/ 240304 h 776874"/>
                <a:gd name="connsiteX36" fmla="*/ 2363244 w 6582779"/>
                <a:gd name="connsiteY36" fmla="*/ 240304 h 776874"/>
                <a:gd name="connsiteX37" fmla="*/ 2368939 w 6582779"/>
                <a:gd name="connsiteY37" fmla="*/ 240304 h 776874"/>
                <a:gd name="connsiteX38" fmla="*/ 2385821 w 6582779"/>
                <a:gd name="connsiteY38" fmla="*/ 240304 h 776874"/>
                <a:gd name="connsiteX39" fmla="*/ 2391414 w 6582779"/>
                <a:gd name="connsiteY39" fmla="*/ 240304 h 776874"/>
                <a:gd name="connsiteX40" fmla="*/ 2402601 w 6582779"/>
                <a:gd name="connsiteY40" fmla="*/ 240304 h 776874"/>
                <a:gd name="connsiteX41" fmla="*/ 2441856 w 6582779"/>
                <a:gd name="connsiteY41" fmla="*/ 240304 h 776874"/>
                <a:gd name="connsiteX42" fmla="*/ 2559825 w 6582779"/>
                <a:gd name="connsiteY42" fmla="*/ 240304 h 776874"/>
                <a:gd name="connsiteX43" fmla="*/ 2761897 w 6582779"/>
                <a:gd name="connsiteY43" fmla="*/ 240304 h 776874"/>
                <a:gd name="connsiteX44" fmla="*/ 2795559 w 6582779"/>
                <a:gd name="connsiteY44" fmla="*/ 240304 h 776874"/>
                <a:gd name="connsiteX45" fmla="*/ 2818034 w 6582779"/>
                <a:gd name="connsiteY45" fmla="*/ 240304 h 776874"/>
                <a:gd name="connsiteX46" fmla="*/ 2823628 w 6582779"/>
                <a:gd name="connsiteY46" fmla="*/ 240304 h 776874"/>
                <a:gd name="connsiteX47" fmla="*/ 2834814 w 6582779"/>
                <a:gd name="connsiteY47" fmla="*/ 240304 h 776874"/>
                <a:gd name="connsiteX48" fmla="*/ 2840408 w 6582779"/>
                <a:gd name="connsiteY48" fmla="*/ 240304 h 776874"/>
                <a:gd name="connsiteX49" fmla="*/ 2857290 w 6582779"/>
                <a:gd name="connsiteY49" fmla="*/ 240304 h 776874"/>
                <a:gd name="connsiteX50" fmla="*/ 2874070 w 6582779"/>
                <a:gd name="connsiteY50" fmla="*/ 240304 h 776874"/>
                <a:gd name="connsiteX51" fmla="*/ 2890951 w 6582779"/>
                <a:gd name="connsiteY51" fmla="*/ 240304 h 776874"/>
                <a:gd name="connsiteX52" fmla="*/ 3104313 w 6582779"/>
                <a:gd name="connsiteY52" fmla="*/ 240304 h 776874"/>
                <a:gd name="connsiteX53" fmla="*/ 3227773 w 6582779"/>
                <a:gd name="connsiteY53" fmla="*/ 240304 h 776874"/>
                <a:gd name="connsiteX54" fmla="*/ 3261435 w 6582779"/>
                <a:gd name="connsiteY54" fmla="*/ 240304 h 776874"/>
                <a:gd name="connsiteX55" fmla="*/ 3283910 w 6582779"/>
                <a:gd name="connsiteY55" fmla="*/ 240304 h 776874"/>
                <a:gd name="connsiteX56" fmla="*/ 3289503 w 6582779"/>
                <a:gd name="connsiteY56" fmla="*/ 240304 h 776874"/>
                <a:gd name="connsiteX57" fmla="*/ 3306385 w 6582779"/>
                <a:gd name="connsiteY57" fmla="*/ 240304 h 776874"/>
                <a:gd name="connsiteX58" fmla="*/ 3311978 w 6582779"/>
                <a:gd name="connsiteY58" fmla="*/ 240304 h 776874"/>
                <a:gd name="connsiteX59" fmla="*/ 3317572 w 6582779"/>
                <a:gd name="connsiteY59" fmla="*/ 240304 h 776874"/>
                <a:gd name="connsiteX60" fmla="*/ 3334454 w 6582779"/>
                <a:gd name="connsiteY60" fmla="*/ 240304 h 776874"/>
                <a:gd name="connsiteX61" fmla="*/ 3373709 w 6582779"/>
                <a:gd name="connsiteY61" fmla="*/ 240304 h 776874"/>
                <a:gd name="connsiteX62" fmla="*/ 3508458 w 6582779"/>
                <a:gd name="connsiteY62" fmla="*/ 240304 h 776874"/>
                <a:gd name="connsiteX63" fmla="*/ 3659987 w 6582779"/>
                <a:gd name="connsiteY63" fmla="*/ 240304 h 776874"/>
                <a:gd name="connsiteX64" fmla="*/ 3744294 w 6582779"/>
                <a:gd name="connsiteY64" fmla="*/ 240304 h 776874"/>
                <a:gd name="connsiteX65" fmla="*/ 3755379 w 6582779"/>
                <a:gd name="connsiteY65" fmla="*/ 240304 h 776874"/>
                <a:gd name="connsiteX66" fmla="*/ 3766668 w 6582779"/>
                <a:gd name="connsiteY66" fmla="*/ 240304 h 776874"/>
                <a:gd name="connsiteX67" fmla="*/ 3772261 w 6582779"/>
                <a:gd name="connsiteY67" fmla="*/ 240304 h 776874"/>
                <a:gd name="connsiteX68" fmla="*/ 3777956 w 6582779"/>
                <a:gd name="connsiteY68" fmla="*/ 240304 h 776874"/>
                <a:gd name="connsiteX69" fmla="*/ 3789143 w 6582779"/>
                <a:gd name="connsiteY69" fmla="*/ 240304 h 776874"/>
                <a:gd name="connsiteX70" fmla="*/ 3800329 w 6582779"/>
                <a:gd name="connsiteY70" fmla="*/ 240304 h 776874"/>
                <a:gd name="connsiteX71" fmla="*/ 3817211 w 6582779"/>
                <a:gd name="connsiteY71" fmla="*/ 240304 h 776874"/>
                <a:gd name="connsiteX72" fmla="*/ 3828398 w 6582779"/>
                <a:gd name="connsiteY72" fmla="*/ 240304 h 776874"/>
                <a:gd name="connsiteX73" fmla="*/ 3839686 w 6582779"/>
                <a:gd name="connsiteY73" fmla="*/ 240304 h 776874"/>
                <a:gd name="connsiteX74" fmla="*/ 3845279 w 6582779"/>
                <a:gd name="connsiteY74" fmla="*/ 240304 h 776874"/>
                <a:gd name="connsiteX75" fmla="*/ 3895823 w 6582779"/>
                <a:gd name="connsiteY75" fmla="*/ 240304 h 776874"/>
                <a:gd name="connsiteX76" fmla="*/ 4176508 w 6582779"/>
                <a:gd name="connsiteY76" fmla="*/ 240304 h 776874"/>
                <a:gd name="connsiteX77" fmla="*/ 4255120 w 6582779"/>
                <a:gd name="connsiteY77" fmla="*/ 240304 h 776874"/>
                <a:gd name="connsiteX78" fmla="*/ 4378479 w 6582779"/>
                <a:gd name="connsiteY78" fmla="*/ 240304 h 776874"/>
                <a:gd name="connsiteX79" fmla="*/ 4799608 w 6582779"/>
                <a:gd name="connsiteY79" fmla="*/ 240304 h 776874"/>
                <a:gd name="connsiteX80" fmla="*/ 4805201 w 6582779"/>
                <a:gd name="connsiteY80" fmla="*/ 240304 h 776874"/>
                <a:gd name="connsiteX81" fmla="*/ 4838863 w 6582779"/>
                <a:gd name="connsiteY81" fmla="*/ 240304 h 776874"/>
                <a:gd name="connsiteX82" fmla="*/ 4844457 w 6582779"/>
                <a:gd name="connsiteY82" fmla="*/ 240304 h 776874"/>
                <a:gd name="connsiteX83" fmla="*/ 4883813 w 6582779"/>
                <a:gd name="connsiteY83" fmla="*/ 240304 h 776874"/>
                <a:gd name="connsiteX84" fmla="*/ 4911882 w 6582779"/>
                <a:gd name="connsiteY84" fmla="*/ 240304 h 776874"/>
                <a:gd name="connsiteX85" fmla="*/ 4956730 w 6582779"/>
                <a:gd name="connsiteY85" fmla="*/ 240304 h 776874"/>
                <a:gd name="connsiteX86" fmla="*/ 4990494 w 6582779"/>
                <a:gd name="connsiteY86" fmla="*/ 240304 h 776874"/>
                <a:gd name="connsiteX87" fmla="*/ 5069004 w 6582779"/>
                <a:gd name="connsiteY87" fmla="*/ 240304 h 776874"/>
                <a:gd name="connsiteX88" fmla="*/ 5125141 w 6582779"/>
                <a:gd name="connsiteY88" fmla="*/ 240304 h 776874"/>
                <a:gd name="connsiteX89" fmla="*/ 5388944 w 6582779"/>
                <a:gd name="connsiteY89" fmla="*/ 240304 h 776874"/>
                <a:gd name="connsiteX90" fmla="*/ 5742647 w 6582779"/>
                <a:gd name="connsiteY90" fmla="*/ 240304 h 776874"/>
                <a:gd name="connsiteX91" fmla="*/ 5961500 w 6582779"/>
                <a:gd name="connsiteY91" fmla="*/ 240304 h 776874"/>
                <a:gd name="connsiteX92" fmla="*/ 6045706 w 6582779"/>
                <a:gd name="connsiteY92" fmla="*/ 240304 h 776874"/>
                <a:gd name="connsiteX93" fmla="*/ 6042582 w 6582779"/>
                <a:gd name="connsiteY93" fmla="*/ 721515 h 776874"/>
                <a:gd name="connsiteX94" fmla="*/ 6440037 w 6582779"/>
                <a:gd name="connsiteY94" fmla="*/ 728479 h 776874"/>
                <a:gd name="connsiteX95" fmla="*/ 6582779 w 6582779"/>
                <a:gd name="connsiteY95" fmla="*/ 776874 h 776874"/>
                <a:gd name="connsiteX0" fmla="*/ 0 w 6440037"/>
                <a:gd name="connsiteY0" fmla="*/ 0 h 728479"/>
                <a:gd name="connsiteX1" fmla="*/ 0 w 6440037"/>
                <a:gd name="connsiteY1" fmla="*/ 0 h 728479"/>
                <a:gd name="connsiteX2" fmla="*/ 5695 w 6440037"/>
                <a:gd name="connsiteY2" fmla="*/ 0 h 728479"/>
                <a:gd name="connsiteX3" fmla="*/ 443502 w 6440037"/>
                <a:gd name="connsiteY3" fmla="*/ 0 h 728479"/>
                <a:gd name="connsiteX4" fmla="*/ 460282 w 6440037"/>
                <a:gd name="connsiteY4" fmla="*/ 0 h 728479"/>
                <a:gd name="connsiteX5" fmla="*/ 460282 w 6440037"/>
                <a:gd name="connsiteY5" fmla="*/ 28337 h 728479"/>
                <a:gd name="connsiteX6" fmla="*/ 477164 w 6440037"/>
                <a:gd name="connsiteY6" fmla="*/ 28337 h 728479"/>
                <a:gd name="connsiteX7" fmla="*/ 477164 w 6440037"/>
                <a:gd name="connsiteY7" fmla="*/ 85721 h 728479"/>
                <a:gd name="connsiteX8" fmla="*/ 493944 w 6440037"/>
                <a:gd name="connsiteY8" fmla="*/ 85721 h 728479"/>
                <a:gd name="connsiteX9" fmla="*/ 505233 w 6440037"/>
                <a:gd name="connsiteY9" fmla="*/ 85721 h 728479"/>
                <a:gd name="connsiteX10" fmla="*/ 505233 w 6440037"/>
                <a:gd name="connsiteY10" fmla="*/ 114972 h 728479"/>
                <a:gd name="connsiteX11" fmla="*/ 516521 w 6440037"/>
                <a:gd name="connsiteY11" fmla="*/ 114972 h 728479"/>
                <a:gd name="connsiteX12" fmla="*/ 746560 w 6440037"/>
                <a:gd name="connsiteY12" fmla="*/ 114972 h 728479"/>
                <a:gd name="connsiteX13" fmla="*/ 836461 w 6440037"/>
                <a:gd name="connsiteY13" fmla="*/ 114972 h 728479"/>
                <a:gd name="connsiteX14" fmla="*/ 903785 w 6440037"/>
                <a:gd name="connsiteY14" fmla="*/ 114972 h 728479"/>
                <a:gd name="connsiteX15" fmla="*/ 903785 w 6440037"/>
                <a:gd name="connsiteY15" fmla="*/ 145137 h 728479"/>
                <a:gd name="connsiteX16" fmla="*/ 982397 w 6440037"/>
                <a:gd name="connsiteY16" fmla="*/ 145137 h 728479"/>
                <a:gd name="connsiteX17" fmla="*/ 987990 w 6440037"/>
                <a:gd name="connsiteY17" fmla="*/ 145137 h 728479"/>
                <a:gd name="connsiteX18" fmla="*/ 1016058 w 6440037"/>
                <a:gd name="connsiteY18" fmla="*/ 145137 h 728479"/>
                <a:gd name="connsiteX19" fmla="*/ 1038534 w 6440037"/>
                <a:gd name="connsiteY19" fmla="*/ 145137 h 728479"/>
                <a:gd name="connsiteX20" fmla="*/ 1038534 w 6440037"/>
                <a:gd name="connsiteY20" fmla="*/ 176419 h 728479"/>
                <a:gd name="connsiteX21" fmla="*/ 1392237 w 6440037"/>
                <a:gd name="connsiteY21" fmla="*/ 176419 h 728479"/>
                <a:gd name="connsiteX22" fmla="*/ 1392237 w 6440037"/>
                <a:gd name="connsiteY22" fmla="*/ 207600 h 728479"/>
                <a:gd name="connsiteX23" fmla="*/ 1403424 w 6440037"/>
                <a:gd name="connsiteY23" fmla="*/ 207600 h 728479"/>
                <a:gd name="connsiteX24" fmla="*/ 1863706 w 6440037"/>
                <a:gd name="connsiteY24" fmla="*/ 207600 h 728479"/>
                <a:gd name="connsiteX25" fmla="*/ 1891775 w 6440037"/>
                <a:gd name="connsiteY25" fmla="*/ 207600 h 728479"/>
                <a:gd name="connsiteX26" fmla="*/ 1931030 w 6440037"/>
                <a:gd name="connsiteY26" fmla="*/ 207600 h 728479"/>
                <a:gd name="connsiteX27" fmla="*/ 2093847 w 6440037"/>
                <a:gd name="connsiteY27" fmla="*/ 207600 h 728479"/>
                <a:gd name="connsiteX28" fmla="*/ 2093847 w 6440037"/>
                <a:gd name="connsiteY28" fmla="*/ 240304 h 728479"/>
                <a:gd name="connsiteX29" fmla="*/ 2267852 w 6440037"/>
                <a:gd name="connsiteY29" fmla="*/ 240304 h 728479"/>
                <a:gd name="connsiteX30" fmla="*/ 2307208 w 6440037"/>
                <a:gd name="connsiteY30" fmla="*/ 240304 h 728479"/>
                <a:gd name="connsiteX31" fmla="*/ 2312802 w 6440037"/>
                <a:gd name="connsiteY31" fmla="*/ 240304 h 728479"/>
                <a:gd name="connsiteX32" fmla="*/ 2318395 w 6440037"/>
                <a:gd name="connsiteY32" fmla="*/ 240304 h 728479"/>
                <a:gd name="connsiteX33" fmla="*/ 2323988 w 6440037"/>
                <a:gd name="connsiteY33" fmla="*/ 240304 h 728479"/>
                <a:gd name="connsiteX34" fmla="*/ 2346463 w 6440037"/>
                <a:gd name="connsiteY34" fmla="*/ 240304 h 728479"/>
                <a:gd name="connsiteX35" fmla="*/ 2352159 w 6440037"/>
                <a:gd name="connsiteY35" fmla="*/ 240304 h 728479"/>
                <a:gd name="connsiteX36" fmla="*/ 2363244 w 6440037"/>
                <a:gd name="connsiteY36" fmla="*/ 240304 h 728479"/>
                <a:gd name="connsiteX37" fmla="*/ 2368939 w 6440037"/>
                <a:gd name="connsiteY37" fmla="*/ 240304 h 728479"/>
                <a:gd name="connsiteX38" fmla="*/ 2385821 w 6440037"/>
                <a:gd name="connsiteY38" fmla="*/ 240304 h 728479"/>
                <a:gd name="connsiteX39" fmla="*/ 2391414 w 6440037"/>
                <a:gd name="connsiteY39" fmla="*/ 240304 h 728479"/>
                <a:gd name="connsiteX40" fmla="*/ 2402601 w 6440037"/>
                <a:gd name="connsiteY40" fmla="*/ 240304 h 728479"/>
                <a:gd name="connsiteX41" fmla="*/ 2441856 w 6440037"/>
                <a:gd name="connsiteY41" fmla="*/ 240304 h 728479"/>
                <a:gd name="connsiteX42" fmla="*/ 2559825 w 6440037"/>
                <a:gd name="connsiteY42" fmla="*/ 240304 h 728479"/>
                <a:gd name="connsiteX43" fmla="*/ 2761897 w 6440037"/>
                <a:gd name="connsiteY43" fmla="*/ 240304 h 728479"/>
                <a:gd name="connsiteX44" fmla="*/ 2795559 w 6440037"/>
                <a:gd name="connsiteY44" fmla="*/ 240304 h 728479"/>
                <a:gd name="connsiteX45" fmla="*/ 2818034 w 6440037"/>
                <a:gd name="connsiteY45" fmla="*/ 240304 h 728479"/>
                <a:gd name="connsiteX46" fmla="*/ 2823628 w 6440037"/>
                <a:gd name="connsiteY46" fmla="*/ 240304 h 728479"/>
                <a:gd name="connsiteX47" fmla="*/ 2834814 w 6440037"/>
                <a:gd name="connsiteY47" fmla="*/ 240304 h 728479"/>
                <a:gd name="connsiteX48" fmla="*/ 2840408 w 6440037"/>
                <a:gd name="connsiteY48" fmla="*/ 240304 h 728479"/>
                <a:gd name="connsiteX49" fmla="*/ 2857290 w 6440037"/>
                <a:gd name="connsiteY49" fmla="*/ 240304 h 728479"/>
                <a:gd name="connsiteX50" fmla="*/ 2874070 w 6440037"/>
                <a:gd name="connsiteY50" fmla="*/ 240304 h 728479"/>
                <a:gd name="connsiteX51" fmla="*/ 2890951 w 6440037"/>
                <a:gd name="connsiteY51" fmla="*/ 240304 h 728479"/>
                <a:gd name="connsiteX52" fmla="*/ 3104313 w 6440037"/>
                <a:gd name="connsiteY52" fmla="*/ 240304 h 728479"/>
                <a:gd name="connsiteX53" fmla="*/ 3227773 w 6440037"/>
                <a:gd name="connsiteY53" fmla="*/ 240304 h 728479"/>
                <a:gd name="connsiteX54" fmla="*/ 3261435 w 6440037"/>
                <a:gd name="connsiteY54" fmla="*/ 240304 h 728479"/>
                <a:gd name="connsiteX55" fmla="*/ 3283910 w 6440037"/>
                <a:gd name="connsiteY55" fmla="*/ 240304 h 728479"/>
                <a:gd name="connsiteX56" fmla="*/ 3289503 w 6440037"/>
                <a:gd name="connsiteY56" fmla="*/ 240304 h 728479"/>
                <a:gd name="connsiteX57" fmla="*/ 3306385 w 6440037"/>
                <a:gd name="connsiteY57" fmla="*/ 240304 h 728479"/>
                <a:gd name="connsiteX58" fmla="*/ 3311978 w 6440037"/>
                <a:gd name="connsiteY58" fmla="*/ 240304 h 728479"/>
                <a:gd name="connsiteX59" fmla="*/ 3317572 w 6440037"/>
                <a:gd name="connsiteY59" fmla="*/ 240304 h 728479"/>
                <a:gd name="connsiteX60" fmla="*/ 3334454 w 6440037"/>
                <a:gd name="connsiteY60" fmla="*/ 240304 h 728479"/>
                <a:gd name="connsiteX61" fmla="*/ 3373709 w 6440037"/>
                <a:gd name="connsiteY61" fmla="*/ 240304 h 728479"/>
                <a:gd name="connsiteX62" fmla="*/ 3508458 w 6440037"/>
                <a:gd name="connsiteY62" fmla="*/ 240304 h 728479"/>
                <a:gd name="connsiteX63" fmla="*/ 3659987 w 6440037"/>
                <a:gd name="connsiteY63" fmla="*/ 240304 h 728479"/>
                <a:gd name="connsiteX64" fmla="*/ 3744294 w 6440037"/>
                <a:gd name="connsiteY64" fmla="*/ 240304 h 728479"/>
                <a:gd name="connsiteX65" fmla="*/ 3755379 w 6440037"/>
                <a:gd name="connsiteY65" fmla="*/ 240304 h 728479"/>
                <a:gd name="connsiteX66" fmla="*/ 3766668 w 6440037"/>
                <a:gd name="connsiteY66" fmla="*/ 240304 h 728479"/>
                <a:gd name="connsiteX67" fmla="*/ 3772261 w 6440037"/>
                <a:gd name="connsiteY67" fmla="*/ 240304 h 728479"/>
                <a:gd name="connsiteX68" fmla="*/ 3777956 w 6440037"/>
                <a:gd name="connsiteY68" fmla="*/ 240304 h 728479"/>
                <a:gd name="connsiteX69" fmla="*/ 3789143 w 6440037"/>
                <a:gd name="connsiteY69" fmla="*/ 240304 h 728479"/>
                <a:gd name="connsiteX70" fmla="*/ 3800329 w 6440037"/>
                <a:gd name="connsiteY70" fmla="*/ 240304 h 728479"/>
                <a:gd name="connsiteX71" fmla="*/ 3817211 w 6440037"/>
                <a:gd name="connsiteY71" fmla="*/ 240304 h 728479"/>
                <a:gd name="connsiteX72" fmla="*/ 3828398 w 6440037"/>
                <a:gd name="connsiteY72" fmla="*/ 240304 h 728479"/>
                <a:gd name="connsiteX73" fmla="*/ 3839686 w 6440037"/>
                <a:gd name="connsiteY73" fmla="*/ 240304 h 728479"/>
                <a:gd name="connsiteX74" fmla="*/ 3845279 w 6440037"/>
                <a:gd name="connsiteY74" fmla="*/ 240304 h 728479"/>
                <a:gd name="connsiteX75" fmla="*/ 3895823 w 6440037"/>
                <a:gd name="connsiteY75" fmla="*/ 240304 h 728479"/>
                <a:gd name="connsiteX76" fmla="*/ 4176508 w 6440037"/>
                <a:gd name="connsiteY76" fmla="*/ 240304 h 728479"/>
                <a:gd name="connsiteX77" fmla="*/ 4255120 w 6440037"/>
                <a:gd name="connsiteY77" fmla="*/ 240304 h 728479"/>
                <a:gd name="connsiteX78" fmla="*/ 4378479 w 6440037"/>
                <a:gd name="connsiteY78" fmla="*/ 240304 h 728479"/>
                <a:gd name="connsiteX79" fmla="*/ 4799608 w 6440037"/>
                <a:gd name="connsiteY79" fmla="*/ 240304 h 728479"/>
                <a:gd name="connsiteX80" fmla="*/ 4805201 w 6440037"/>
                <a:gd name="connsiteY80" fmla="*/ 240304 h 728479"/>
                <a:gd name="connsiteX81" fmla="*/ 4838863 w 6440037"/>
                <a:gd name="connsiteY81" fmla="*/ 240304 h 728479"/>
                <a:gd name="connsiteX82" fmla="*/ 4844457 w 6440037"/>
                <a:gd name="connsiteY82" fmla="*/ 240304 h 728479"/>
                <a:gd name="connsiteX83" fmla="*/ 4883813 w 6440037"/>
                <a:gd name="connsiteY83" fmla="*/ 240304 h 728479"/>
                <a:gd name="connsiteX84" fmla="*/ 4911882 w 6440037"/>
                <a:gd name="connsiteY84" fmla="*/ 240304 h 728479"/>
                <a:gd name="connsiteX85" fmla="*/ 4956730 w 6440037"/>
                <a:gd name="connsiteY85" fmla="*/ 240304 h 728479"/>
                <a:gd name="connsiteX86" fmla="*/ 4990494 w 6440037"/>
                <a:gd name="connsiteY86" fmla="*/ 240304 h 728479"/>
                <a:gd name="connsiteX87" fmla="*/ 5069004 w 6440037"/>
                <a:gd name="connsiteY87" fmla="*/ 240304 h 728479"/>
                <a:gd name="connsiteX88" fmla="*/ 5125141 w 6440037"/>
                <a:gd name="connsiteY88" fmla="*/ 240304 h 728479"/>
                <a:gd name="connsiteX89" fmla="*/ 5388944 w 6440037"/>
                <a:gd name="connsiteY89" fmla="*/ 240304 h 728479"/>
                <a:gd name="connsiteX90" fmla="*/ 5742647 w 6440037"/>
                <a:gd name="connsiteY90" fmla="*/ 240304 h 728479"/>
                <a:gd name="connsiteX91" fmla="*/ 5961500 w 6440037"/>
                <a:gd name="connsiteY91" fmla="*/ 240304 h 728479"/>
                <a:gd name="connsiteX92" fmla="*/ 6045706 w 6440037"/>
                <a:gd name="connsiteY92" fmla="*/ 240304 h 728479"/>
                <a:gd name="connsiteX93" fmla="*/ 6042582 w 6440037"/>
                <a:gd name="connsiteY93" fmla="*/ 721515 h 728479"/>
                <a:gd name="connsiteX94" fmla="*/ 6440037 w 6440037"/>
                <a:gd name="connsiteY94" fmla="*/ 728479 h 72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6440037" h="728479">
                  <a:moveTo>
                    <a:pt x="0" y="0"/>
                  </a:moveTo>
                  <a:lnTo>
                    <a:pt x="0" y="0"/>
                  </a:lnTo>
                  <a:lnTo>
                    <a:pt x="5695" y="0"/>
                  </a:lnTo>
                  <a:lnTo>
                    <a:pt x="443502" y="0"/>
                  </a:lnTo>
                  <a:lnTo>
                    <a:pt x="460282" y="0"/>
                  </a:lnTo>
                  <a:lnTo>
                    <a:pt x="460282" y="28337"/>
                  </a:lnTo>
                  <a:lnTo>
                    <a:pt x="477164" y="28337"/>
                  </a:lnTo>
                  <a:lnTo>
                    <a:pt x="477164" y="85721"/>
                  </a:lnTo>
                  <a:lnTo>
                    <a:pt x="493944" y="85721"/>
                  </a:lnTo>
                  <a:lnTo>
                    <a:pt x="505233" y="85721"/>
                  </a:lnTo>
                  <a:lnTo>
                    <a:pt x="505233" y="114972"/>
                  </a:lnTo>
                  <a:lnTo>
                    <a:pt x="516521" y="114972"/>
                  </a:lnTo>
                  <a:lnTo>
                    <a:pt x="746560" y="114972"/>
                  </a:lnTo>
                  <a:lnTo>
                    <a:pt x="836461" y="114972"/>
                  </a:lnTo>
                  <a:lnTo>
                    <a:pt x="903785" y="114972"/>
                  </a:lnTo>
                  <a:lnTo>
                    <a:pt x="903785" y="145137"/>
                  </a:lnTo>
                  <a:lnTo>
                    <a:pt x="982397" y="145137"/>
                  </a:lnTo>
                  <a:lnTo>
                    <a:pt x="987990" y="145137"/>
                  </a:lnTo>
                  <a:lnTo>
                    <a:pt x="1016058" y="145137"/>
                  </a:lnTo>
                  <a:lnTo>
                    <a:pt x="1038534" y="145137"/>
                  </a:lnTo>
                  <a:lnTo>
                    <a:pt x="1038534" y="176419"/>
                  </a:lnTo>
                  <a:lnTo>
                    <a:pt x="1392237" y="176419"/>
                  </a:lnTo>
                  <a:lnTo>
                    <a:pt x="1392237" y="207600"/>
                  </a:lnTo>
                  <a:lnTo>
                    <a:pt x="1403424" y="207600"/>
                  </a:lnTo>
                  <a:lnTo>
                    <a:pt x="1863706" y="207600"/>
                  </a:lnTo>
                  <a:lnTo>
                    <a:pt x="1891775" y="207600"/>
                  </a:lnTo>
                  <a:lnTo>
                    <a:pt x="1931030" y="207600"/>
                  </a:lnTo>
                  <a:lnTo>
                    <a:pt x="2093847" y="207600"/>
                  </a:lnTo>
                  <a:lnTo>
                    <a:pt x="2093847" y="240304"/>
                  </a:lnTo>
                  <a:lnTo>
                    <a:pt x="2267852" y="240304"/>
                  </a:lnTo>
                  <a:lnTo>
                    <a:pt x="2307208" y="240304"/>
                  </a:lnTo>
                  <a:lnTo>
                    <a:pt x="2312802" y="240304"/>
                  </a:lnTo>
                  <a:lnTo>
                    <a:pt x="2318395" y="240304"/>
                  </a:lnTo>
                  <a:lnTo>
                    <a:pt x="2323988" y="240304"/>
                  </a:lnTo>
                  <a:lnTo>
                    <a:pt x="2346463" y="240304"/>
                  </a:lnTo>
                  <a:lnTo>
                    <a:pt x="2352159" y="240304"/>
                  </a:lnTo>
                  <a:lnTo>
                    <a:pt x="2363244" y="240304"/>
                  </a:lnTo>
                  <a:lnTo>
                    <a:pt x="2368939" y="240304"/>
                  </a:lnTo>
                  <a:lnTo>
                    <a:pt x="2385821" y="240304"/>
                  </a:lnTo>
                  <a:lnTo>
                    <a:pt x="2391414" y="240304"/>
                  </a:lnTo>
                  <a:lnTo>
                    <a:pt x="2402601" y="240304"/>
                  </a:lnTo>
                  <a:lnTo>
                    <a:pt x="2441856" y="240304"/>
                  </a:lnTo>
                  <a:lnTo>
                    <a:pt x="2559825" y="240304"/>
                  </a:lnTo>
                  <a:lnTo>
                    <a:pt x="2761897" y="240304"/>
                  </a:lnTo>
                  <a:lnTo>
                    <a:pt x="2795559" y="240304"/>
                  </a:lnTo>
                  <a:lnTo>
                    <a:pt x="2818034" y="240304"/>
                  </a:lnTo>
                  <a:lnTo>
                    <a:pt x="2823628" y="240304"/>
                  </a:lnTo>
                  <a:lnTo>
                    <a:pt x="2834814" y="240304"/>
                  </a:lnTo>
                  <a:lnTo>
                    <a:pt x="2840408" y="240304"/>
                  </a:lnTo>
                  <a:lnTo>
                    <a:pt x="2857290" y="240304"/>
                  </a:lnTo>
                  <a:lnTo>
                    <a:pt x="2874070" y="240304"/>
                  </a:lnTo>
                  <a:lnTo>
                    <a:pt x="2890951" y="240304"/>
                  </a:lnTo>
                  <a:lnTo>
                    <a:pt x="3104313" y="240304"/>
                  </a:lnTo>
                  <a:lnTo>
                    <a:pt x="3227773" y="240304"/>
                  </a:lnTo>
                  <a:lnTo>
                    <a:pt x="3261435" y="240304"/>
                  </a:lnTo>
                  <a:lnTo>
                    <a:pt x="3283910" y="240304"/>
                  </a:lnTo>
                  <a:lnTo>
                    <a:pt x="3289503" y="240304"/>
                  </a:lnTo>
                  <a:lnTo>
                    <a:pt x="3306385" y="240304"/>
                  </a:lnTo>
                  <a:lnTo>
                    <a:pt x="3311978" y="240304"/>
                  </a:lnTo>
                  <a:lnTo>
                    <a:pt x="3317572" y="240304"/>
                  </a:lnTo>
                  <a:lnTo>
                    <a:pt x="3334454" y="240304"/>
                  </a:lnTo>
                  <a:lnTo>
                    <a:pt x="3373709" y="240304"/>
                  </a:lnTo>
                  <a:lnTo>
                    <a:pt x="3508458" y="240304"/>
                  </a:lnTo>
                  <a:lnTo>
                    <a:pt x="3659987" y="240304"/>
                  </a:lnTo>
                  <a:lnTo>
                    <a:pt x="3744294" y="240304"/>
                  </a:lnTo>
                  <a:lnTo>
                    <a:pt x="3755379" y="240304"/>
                  </a:lnTo>
                  <a:lnTo>
                    <a:pt x="3766668" y="240304"/>
                  </a:lnTo>
                  <a:lnTo>
                    <a:pt x="3772261" y="240304"/>
                  </a:lnTo>
                  <a:lnTo>
                    <a:pt x="3777956" y="240304"/>
                  </a:lnTo>
                  <a:lnTo>
                    <a:pt x="3789143" y="240304"/>
                  </a:lnTo>
                  <a:lnTo>
                    <a:pt x="3800329" y="240304"/>
                  </a:lnTo>
                  <a:lnTo>
                    <a:pt x="3817211" y="240304"/>
                  </a:lnTo>
                  <a:lnTo>
                    <a:pt x="3828398" y="240304"/>
                  </a:lnTo>
                  <a:lnTo>
                    <a:pt x="3839686" y="240304"/>
                  </a:lnTo>
                  <a:lnTo>
                    <a:pt x="3845279" y="240304"/>
                  </a:lnTo>
                  <a:lnTo>
                    <a:pt x="3895823" y="240304"/>
                  </a:lnTo>
                  <a:lnTo>
                    <a:pt x="4176508" y="240304"/>
                  </a:lnTo>
                  <a:lnTo>
                    <a:pt x="4255120" y="240304"/>
                  </a:lnTo>
                  <a:lnTo>
                    <a:pt x="4378479" y="240304"/>
                  </a:lnTo>
                  <a:lnTo>
                    <a:pt x="4799608" y="240304"/>
                  </a:lnTo>
                  <a:lnTo>
                    <a:pt x="4805201" y="240304"/>
                  </a:lnTo>
                  <a:lnTo>
                    <a:pt x="4838863" y="240304"/>
                  </a:lnTo>
                  <a:lnTo>
                    <a:pt x="4844457" y="240304"/>
                  </a:lnTo>
                  <a:lnTo>
                    <a:pt x="4883813" y="240304"/>
                  </a:lnTo>
                  <a:lnTo>
                    <a:pt x="4911882" y="240304"/>
                  </a:lnTo>
                  <a:lnTo>
                    <a:pt x="4956730" y="240304"/>
                  </a:lnTo>
                  <a:lnTo>
                    <a:pt x="4990494" y="240304"/>
                  </a:lnTo>
                  <a:lnTo>
                    <a:pt x="5069004" y="240304"/>
                  </a:lnTo>
                  <a:lnTo>
                    <a:pt x="5125141" y="240304"/>
                  </a:lnTo>
                  <a:lnTo>
                    <a:pt x="5388944" y="240304"/>
                  </a:lnTo>
                  <a:lnTo>
                    <a:pt x="5742647" y="240304"/>
                  </a:lnTo>
                  <a:lnTo>
                    <a:pt x="5961500" y="240304"/>
                  </a:lnTo>
                  <a:lnTo>
                    <a:pt x="6045706" y="240304"/>
                  </a:lnTo>
                  <a:cubicBezTo>
                    <a:pt x="6044665" y="400708"/>
                    <a:pt x="6044144" y="480909"/>
                    <a:pt x="6042582" y="721515"/>
                  </a:cubicBezTo>
                  <a:lnTo>
                    <a:pt x="6440037" y="728479"/>
                  </a:lnTo>
                </a:path>
              </a:pathLst>
            </a:custGeom>
            <a:noFill/>
            <a:ln w="27051" cap="sq">
              <a:solidFill>
                <a:srgbClr val="E21D38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3" name="Freeform 57">
              <a:extLst>
                <a:ext uri="{FF2B5EF4-FFF2-40B4-BE49-F238E27FC236}">
                  <a16:creationId xmlns:a16="http://schemas.microsoft.com/office/drawing/2014/main" id="{73E28959-CA10-5CA8-EC2C-60E0A64F9416}"/>
                </a:ext>
              </a:extLst>
            </p:cNvPr>
            <p:cNvSpPr/>
            <p:nvPr/>
          </p:nvSpPr>
          <p:spPr>
            <a:xfrm>
              <a:off x="10287841" y="2362809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4" name="Freeform 57">
              <a:extLst>
                <a:ext uri="{FF2B5EF4-FFF2-40B4-BE49-F238E27FC236}">
                  <a16:creationId xmlns:a16="http://schemas.microsoft.com/office/drawing/2014/main" id="{BAC06F2F-B5E9-5313-C24A-66A9DD19EFCE}"/>
                </a:ext>
              </a:extLst>
            </p:cNvPr>
            <p:cNvSpPr/>
            <p:nvPr/>
          </p:nvSpPr>
          <p:spPr>
            <a:xfrm>
              <a:off x="10064441" y="2356891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5" name="Freeform 57">
              <a:extLst>
                <a:ext uri="{FF2B5EF4-FFF2-40B4-BE49-F238E27FC236}">
                  <a16:creationId xmlns:a16="http://schemas.microsoft.com/office/drawing/2014/main" id="{B056C67C-B4FC-272F-D4E8-B6D3BFEB9DF2}"/>
                </a:ext>
              </a:extLst>
            </p:cNvPr>
            <p:cNvSpPr/>
            <p:nvPr/>
          </p:nvSpPr>
          <p:spPr>
            <a:xfrm>
              <a:off x="10007282" y="2356891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6" name="Freeform 57">
              <a:extLst>
                <a:ext uri="{FF2B5EF4-FFF2-40B4-BE49-F238E27FC236}">
                  <a16:creationId xmlns:a16="http://schemas.microsoft.com/office/drawing/2014/main" id="{79F6D3AD-70C9-0103-377C-1BFFF3EA966B}"/>
                </a:ext>
              </a:extLst>
            </p:cNvPr>
            <p:cNvSpPr/>
            <p:nvPr/>
          </p:nvSpPr>
          <p:spPr>
            <a:xfrm>
              <a:off x="9842176" y="2356891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7" name="Freeform 57">
              <a:extLst>
                <a:ext uri="{FF2B5EF4-FFF2-40B4-BE49-F238E27FC236}">
                  <a16:creationId xmlns:a16="http://schemas.microsoft.com/office/drawing/2014/main" id="{2F0B8F98-AF2C-A50C-B4E1-49FA7C8B9E85}"/>
                </a:ext>
              </a:extLst>
            </p:cNvPr>
            <p:cNvSpPr/>
            <p:nvPr/>
          </p:nvSpPr>
          <p:spPr>
            <a:xfrm>
              <a:off x="9703141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8" name="Freeform 57">
              <a:extLst>
                <a:ext uri="{FF2B5EF4-FFF2-40B4-BE49-F238E27FC236}">
                  <a16:creationId xmlns:a16="http://schemas.microsoft.com/office/drawing/2014/main" id="{9A015987-C69F-FD4F-60CA-0AEB89AB0077}"/>
                </a:ext>
              </a:extLst>
            </p:cNvPr>
            <p:cNvSpPr/>
            <p:nvPr/>
          </p:nvSpPr>
          <p:spPr>
            <a:xfrm>
              <a:off x="9434464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9" name="Freeform 57">
              <a:extLst>
                <a:ext uri="{FF2B5EF4-FFF2-40B4-BE49-F238E27FC236}">
                  <a16:creationId xmlns:a16="http://schemas.microsoft.com/office/drawing/2014/main" id="{DFF8BD01-61B1-7AC1-6C46-E9BCCE7074FD}"/>
                </a:ext>
              </a:extLst>
            </p:cNvPr>
            <p:cNvSpPr/>
            <p:nvPr/>
          </p:nvSpPr>
          <p:spPr>
            <a:xfrm>
              <a:off x="8998295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0" name="Freeform 57">
              <a:extLst>
                <a:ext uri="{FF2B5EF4-FFF2-40B4-BE49-F238E27FC236}">
                  <a16:creationId xmlns:a16="http://schemas.microsoft.com/office/drawing/2014/main" id="{B49B8F02-760C-8C30-64EA-8921CD58E22D}"/>
                </a:ext>
              </a:extLst>
            </p:cNvPr>
            <p:cNvSpPr/>
            <p:nvPr/>
          </p:nvSpPr>
          <p:spPr>
            <a:xfrm>
              <a:off x="8676411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1" name="Freeform 57">
              <a:extLst>
                <a:ext uri="{FF2B5EF4-FFF2-40B4-BE49-F238E27FC236}">
                  <a16:creationId xmlns:a16="http://schemas.microsoft.com/office/drawing/2014/main" id="{DA09C5B7-C539-0E9D-2C8A-51063F9E3E0C}"/>
                </a:ext>
              </a:extLst>
            </p:cNvPr>
            <p:cNvSpPr/>
            <p:nvPr/>
          </p:nvSpPr>
          <p:spPr>
            <a:xfrm>
              <a:off x="8604296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2" name="Freeform 57">
              <a:extLst>
                <a:ext uri="{FF2B5EF4-FFF2-40B4-BE49-F238E27FC236}">
                  <a16:creationId xmlns:a16="http://schemas.microsoft.com/office/drawing/2014/main" id="{89781B01-1683-DBA7-B294-D3DF0C470766}"/>
                </a:ext>
              </a:extLst>
            </p:cNvPr>
            <p:cNvSpPr/>
            <p:nvPr/>
          </p:nvSpPr>
          <p:spPr>
            <a:xfrm>
              <a:off x="8507206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3" name="Freeform 57">
              <a:extLst>
                <a:ext uri="{FF2B5EF4-FFF2-40B4-BE49-F238E27FC236}">
                  <a16:creationId xmlns:a16="http://schemas.microsoft.com/office/drawing/2014/main" id="{4200487F-FB8F-277A-9132-C55123253A9E}"/>
                </a:ext>
              </a:extLst>
            </p:cNvPr>
            <p:cNvSpPr/>
            <p:nvPr/>
          </p:nvSpPr>
          <p:spPr>
            <a:xfrm>
              <a:off x="8467991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4" name="Freeform 57">
              <a:extLst>
                <a:ext uri="{FF2B5EF4-FFF2-40B4-BE49-F238E27FC236}">
                  <a16:creationId xmlns:a16="http://schemas.microsoft.com/office/drawing/2014/main" id="{9B287208-703D-B279-80D2-74E59C11A7ED}"/>
                </a:ext>
              </a:extLst>
            </p:cNvPr>
            <p:cNvSpPr/>
            <p:nvPr/>
          </p:nvSpPr>
          <p:spPr>
            <a:xfrm>
              <a:off x="8409968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5" name="Freeform 57">
              <a:extLst>
                <a:ext uri="{FF2B5EF4-FFF2-40B4-BE49-F238E27FC236}">
                  <a16:creationId xmlns:a16="http://schemas.microsoft.com/office/drawing/2014/main" id="{4F157719-9AEB-CC9C-0BA9-A62F5D298FCD}"/>
                </a:ext>
              </a:extLst>
            </p:cNvPr>
            <p:cNvSpPr/>
            <p:nvPr/>
          </p:nvSpPr>
          <p:spPr>
            <a:xfrm>
              <a:off x="8373329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6" name="Freeform 57">
              <a:extLst>
                <a:ext uri="{FF2B5EF4-FFF2-40B4-BE49-F238E27FC236}">
                  <a16:creationId xmlns:a16="http://schemas.microsoft.com/office/drawing/2014/main" id="{207A0221-0FA3-977E-ADEF-4AE97900530C}"/>
                </a:ext>
              </a:extLst>
            </p:cNvPr>
            <p:cNvSpPr/>
            <p:nvPr/>
          </p:nvSpPr>
          <p:spPr>
            <a:xfrm>
              <a:off x="8321428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7" name="Freeform 57">
              <a:extLst>
                <a:ext uri="{FF2B5EF4-FFF2-40B4-BE49-F238E27FC236}">
                  <a16:creationId xmlns:a16="http://schemas.microsoft.com/office/drawing/2014/main" id="{697BD991-63E6-C9C8-EC49-392FE2C2B6B7}"/>
                </a:ext>
              </a:extLst>
            </p:cNvPr>
            <p:cNvSpPr/>
            <p:nvPr/>
          </p:nvSpPr>
          <p:spPr>
            <a:xfrm>
              <a:off x="8274841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8" name="Freeform 57">
              <a:extLst>
                <a:ext uri="{FF2B5EF4-FFF2-40B4-BE49-F238E27FC236}">
                  <a16:creationId xmlns:a16="http://schemas.microsoft.com/office/drawing/2014/main" id="{E636CD77-EEE1-F5D6-E4DB-B96D377749D8}"/>
                </a:ext>
              </a:extLst>
            </p:cNvPr>
            <p:cNvSpPr/>
            <p:nvPr/>
          </p:nvSpPr>
          <p:spPr>
            <a:xfrm>
              <a:off x="7756520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9" name="Freeform 57">
              <a:extLst>
                <a:ext uri="{FF2B5EF4-FFF2-40B4-BE49-F238E27FC236}">
                  <a16:creationId xmlns:a16="http://schemas.microsoft.com/office/drawing/2014/main" id="{AC917BA9-1D20-5B75-F55E-F7BB6E870E68}"/>
                </a:ext>
              </a:extLst>
            </p:cNvPr>
            <p:cNvSpPr/>
            <p:nvPr/>
          </p:nvSpPr>
          <p:spPr>
            <a:xfrm>
              <a:off x="7598202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0" name="Freeform 57">
              <a:extLst>
                <a:ext uri="{FF2B5EF4-FFF2-40B4-BE49-F238E27FC236}">
                  <a16:creationId xmlns:a16="http://schemas.microsoft.com/office/drawing/2014/main" id="{7AC22F78-6F17-7F80-5C71-CF9F002AEA73}"/>
                </a:ext>
              </a:extLst>
            </p:cNvPr>
            <p:cNvSpPr/>
            <p:nvPr/>
          </p:nvSpPr>
          <p:spPr>
            <a:xfrm>
              <a:off x="7505610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1" name="Freeform 57">
              <a:extLst>
                <a:ext uri="{FF2B5EF4-FFF2-40B4-BE49-F238E27FC236}">
                  <a16:creationId xmlns:a16="http://schemas.microsoft.com/office/drawing/2014/main" id="{0D896EFA-1C33-E8FF-425C-FC1C6ED8EC06}"/>
                </a:ext>
              </a:extLst>
            </p:cNvPr>
            <p:cNvSpPr/>
            <p:nvPr/>
          </p:nvSpPr>
          <p:spPr>
            <a:xfrm>
              <a:off x="7160998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2" name="Freeform 57">
              <a:extLst>
                <a:ext uri="{FF2B5EF4-FFF2-40B4-BE49-F238E27FC236}">
                  <a16:creationId xmlns:a16="http://schemas.microsoft.com/office/drawing/2014/main" id="{40819041-C0F0-3D27-60DF-DFE2A30CA3C0}"/>
                </a:ext>
              </a:extLst>
            </p:cNvPr>
            <p:cNvSpPr/>
            <p:nvPr/>
          </p:nvSpPr>
          <p:spPr>
            <a:xfrm>
              <a:off x="6869778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3" name="Freeform 57">
              <a:extLst>
                <a:ext uri="{FF2B5EF4-FFF2-40B4-BE49-F238E27FC236}">
                  <a16:creationId xmlns:a16="http://schemas.microsoft.com/office/drawing/2014/main" id="{2C7B1918-063C-731D-1909-9FD9C17A5DFB}"/>
                </a:ext>
              </a:extLst>
            </p:cNvPr>
            <p:cNvSpPr/>
            <p:nvPr/>
          </p:nvSpPr>
          <p:spPr>
            <a:xfrm>
              <a:off x="6684725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4" name="Freeform 57">
              <a:extLst>
                <a:ext uri="{FF2B5EF4-FFF2-40B4-BE49-F238E27FC236}">
                  <a16:creationId xmlns:a16="http://schemas.microsoft.com/office/drawing/2014/main" id="{EC7BC451-A115-E46F-78FC-3483E9B32D7A}"/>
                </a:ext>
              </a:extLst>
            </p:cNvPr>
            <p:cNvSpPr/>
            <p:nvPr/>
          </p:nvSpPr>
          <p:spPr>
            <a:xfrm>
              <a:off x="6517539" y="1867162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5" name="Freeform 57">
              <a:extLst>
                <a:ext uri="{FF2B5EF4-FFF2-40B4-BE49-F238E27FC236}">
                  <a16:creationId xmlns:a16="http://schemas.microsoft.com/office/drawing/2014/main" id="{5EB91247-53B8-8E18-D459-DB9D1665E508}"/>
                </a:ext>
              </a:extLst>
            </p:cNvPr>
            <p:cNvSpPr/>
            <p:nvPr/>
          </p:nvSpPr>
          <p:spPr>
            <a:xfrm>
              <a:off x="6183264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6" name="Freeform 57">
              <a:extLst>
                <a:ext uri="{FF2B5EF4-FFF2-40B4-BE49-F238E27FC236}">
                  <a16:creationId xmlns:a16="http://schemas.microsoft.com/office/drawing/2014/main" id="{957501C7-650F-2A63-C860-A9BF6EAE60AA}"/>
                </a:ext>
              </a:extLst>
            </p:cNvPr>
            <p:cNvSpPr/>
            <p:nvPr/>
          </p:nvSpPr>
          <p:spPr>
            <a:xfrm>
              <a:off x="6335075" y="1867162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7" name="Freeform 57">
              <a:extLst>
                <a:ext uri="{FF2B5EF4-FFF2-40B4-BE49-F238E27FC236}">
                  <a16:creationId xmlns:a16="http://schemas.microsoft.com/office/drawing/2014/main" id="{1244BEF7-BBEE-8E59-70FD-0E06D83867D4}"/>
                </a:ext>
              </a:extLst>
            </p:cNvPr>
            <p:cNvSpPr/>
            <p:nvPr/>
          </p:nvSpPr>
          <p:spPr>
            <a:xfrm>
              <a:off x="7094338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8" name="Freeform 57">
              <a:extLst>
                <a:ext uri="{FF2B5EF4-FFF2-40B4-BE49-F238E27FC236}">
                  <a16:creationId xmlns:a16="http://schemas.microsoft.com/office/drawing/2014/main" id="{0613A950-E580-0BE7-6E30-59FF736474C1}"/>
                </a:ext>
              </a:extLst>
            </p:cNvPr>
            <p:cNvSpPr/>
            <p:nvPr/>
          </p:nvSpPr>
          <p:spPr>
            <a:xfrm>
              <a:off x="6975424" y="1869680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379" name="Group 378">
              <a:extLst>
                <a:ext uri="{FF2B5EF4-FFF2-40B4-BE49-F238E27FC236}">
                  <a16:creationId xmlns:a16="http://schemas.microsoft.com/office/drawing/2014/main" id="{D8E7AF33-B2D2-BAE6-FA74-19044FA57FE2}"/>
                </a:ext>
              </a:extLst>
            </p:cNvPr>
            <p:cNvGrpSpPr/>
            <p:nvPr/>
          </p:nvGrpSpPr>
          <p:grpSpPr>
            <a:xfrm>
              <a:off x="6994465" y="1870622"/>
              <a:ext cx="167428" cy="94602"/>
              <a:chOff x="6731533" y="1801507"/>
              <a:chExt cx="167428" cy="52875"/>
            </a:xfrm>
          </p:grpSpPr>
          <p:sp>
            <p:nvSpPr>
              <p:cNvPr id="417" name="Freeform 58">
                <a:extLst>
                  <a:ext uri="{FF2B5EF4-FFF2-40B4-BE49-F238E27FC236}">
                    <a16:creationId xmlns:a16="http://schemas.microsoft.com/office/drawing/2014/main" id="{1F1D0582-8A49-1DF7-C70F-A9228AC768F0}"/>
                  </a:ext>
                </a:extLst>
              </p:cNvPr>
              <p:cNvSpPr/>
              <p:nvPr/>
            </p:nvSpPr>
            <p:spPr>
              <a:xfrm>
                <a:off x="6731533" y="1801507"/>
                <a:ext cx="69199" cy="52875"/>
              </a:xfrm>
              <a:custGeom>
                <a:avLst/>
                <a:gdLst>
                  <a:gd name="connsiteX0" fmla="*/ 24814 w 59391"/>
                  <a:gd name="connsiteY0" fmla="*/ 28641 h 49259"/>
                  <a:gd name="connsiteX1" fmla="*/ 24814 w 59391"/>
                  <a:gd name="connsiteY1" fmla="*/ 49259 h 49259"/>
                  <a:gd name="connsiteX2" fmla="*/ 34577 w 59391"/>
                  <a:gd name="connsiteY2" fmla="*/ 49259 h 49259"/>
                  <a:gd name="connsiteX3" fmla="*/ 34577 w 59391"/>
                  <a:gd name="connsiteY3" fmla="*/ 28641 h 49259"/>
                  <a:gd name="connsiteX4" fmla="*/ 59391 w 59391"/>
                  <a:gd name="connsiteY4" fmla="*/ 28641 h 49259"/>
                  <a:gd name="connsiteX5" fmla="*/ 59391 w 59391"/>
                  <a:gd name="connsiteY5" fmla="*/ 20719 h 49259"/>
                  <a:gd name="connsiteX6" fmla="*/ 34577 w 59391"/>
                  <a:gd name="connsiteY6" fmla="*/ 20719 h 49259"/>
                  <a:gd name="connsiteX7" fmla="*/ 34577 w 59391"/>
                  <a:gd name="connsiteY7" fmla="*/ 0 h 49259"/>
                  <a:gd name="connsiteX8" fmla="*/ 24814 w 59391"/>
                  <a:gd name="connsiteY8" fmla="*/ 0 h 49259"/>
                  <a:gd name="connsiteX9" fmla="*/ 24814 w 59391"/>
                  <a:gd name="connsiteY9" fmla="*/ 20719 h 49259"/>
                  <a:gd name="connsiteX10" fmla="*/ 0 w 59391"/>
                  <a:gd name="connsiteY10" fmla="*/ 20719 h 49259"/>
                  <a:gd name="connsiteX11" fmla="*/ 0 w 59391"/>
                  <a:gd name="connsiteY11" fmla="*/ 28641 h 49259"/>
                  <a:gd name="connsiteX12" fmla="*/ 24814 w 59391"/>
                  <a:gd name="connsiteY12" fmla="*/ 28641 h 49259"/>
                  <a:gd name="connsiteX13" fmla="*/ 24814 w 59391"/>
                  <a:gd name="connsiteY13" fmla="*/ 28641 h 4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391" h="49259">
                    <a:moveTo>
                      <a:pt x="24814" y="28641"/>
                    </a:moveTo>
                    <a:lnTo>
                      <a:pt x="24814" y="49259"/>
                    </a:lnTo>
                    <a:lnTo>
                      <a:pt x="34577" y="49259"/>
                    </a:lnTo>
                    <a:lnTo>
                      <a:pt x="34577" y="28641"/>
                    </a:lnTo>
                    <a:lnTo>
                      <a:pt x="59391" y="28641"/>
                    </a:lnTo>
                    <a:lnTo>
                      <a:pt x="59391" y="20719"/>
                    </a:lnTo>
                    <a:lnTo>
                      <a:pt x="34577" y="20719"/>
                    </a:lnTo>
                    <a:lnTo>
                      <a:pt x="34577" y="0"/>
                    </a:lnTo>
                    <a:lnTo>
                      <a:pt x="24814" y="0"/>
                    </a:lnTo>
                    <a:lnTo>
                      <a:pt x="24814" y="20719"/>
                    </a:lnTo>
                    <a:lnTo>
                      <a:pt x="0" y="20719"/>
                    </a:lnTo>
                    <a:lnTo>
                      <a:pt x="0" y="28641"/>
                    </a:lnTo>
                    <a:lnTo>
                      <a:pt x="24814" y="28641"/>
                    </a:lnTo>
                    <a:lnTo>
                      <a:pt x="24814" y="28641"/>
                    </a:lnTo>
                    <a:close/>
                  </a:path>
                </a:pathLst>
              </a:custGeom>
              <a:solidFill>
                <a:srgbClr val="E21D38"/>
              </a:solidFill>
              <a:ln w="10165" cap="flat">
                <a:solidFill>
                  <a:srgbClr val="E21D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18" name="Freeform 59">
                <a:extLst>
                  <a:ext uri="{FF2B5EF4-FFF2-40B4-BE49-F238E27FC236}">
                    <a16:creationId xmlns:a16="http://schemas.microsoft.com/office/drawing/2014/main" id="{FF7AFF7B-CB62-4B5B-8AF6-2AB0FC12C76D}"/>
                  </a:ext>
                </a:extLst>
              </p:cNvPr>
              <p:cNvSpPr/>
              <p:nvPr/>
            </p:nvSpPr>
            <p:spPr>
              <a:xfrm>
                <a:off x="6744568" y="1801507"/>
                <a:ext cx="69317" cy="52875"/>
              </a:xfrm>
              <a:custGeom>
                <a:avLst/>
                <a:gdLst>
                  <a:gd name="connsiteX0" fmla="*/ 24916 w 59493"/>
                  <a:gd name="connsiteY0" fmla="*/ 28641 h 49259"/>
                  <a:gd name="connsiteX1" fmla="*/ 24916 w 59493"/>
                  <a:gd name="connsiteY1" fmla="*/ 49259 h 49259"/>
                  <a:gd name="connsiteX2" fmla="*/ 34679 w 59493"/>
                  <a:gd name="connsiteY2" fmla="*/ 49259 h 49259"/>
                  <a:gd name="connsiteX3" fmla="*/ 34679 w 59493"/>
                  <a:gd name="connsiteY3" fmla="*/ 28641 h 49259"/>
                  <a:gd name="connsiteX4" fmla="*/ 59493 w 59493"/>
                  <a:gd name="connsiteY4" fmla="*/ 28641 h 49259"/>
                  <a:gd name="connsiteX5" fmla="*/ 59493 w 59493"/>
                  <a:gd name="connsiteY5" fmla="*/ 20719 h 49259"/>
                  <a:gd name="connsiteX6" fmla="*/ 34679 w 59493"/>
                  <a:gd name="connsiteY6" fmla="*/ 20719 h 49259"/>
                  <a:gd name="connsiteX7" fmla="*/ 34679 w 59493"/>
                  <a:gd name="connsiteY7" fmla="*/ 0 h 49259"/>
                  <a:gd name="connsiteX8" fmla="*/ 24916 w 59493"/>
                  <a:gd name="connsiteY8" fmla="*/ 0 h 49259"/>
                  <a:gd name="connsiteX9" fmla="*/ 24916 w 59493"/>
                  <a:gd name="connsiteY9" fmla="*/ 20719 h 49259"/>
                  <a:gd name="connsiteX10" fmla="*/ 0 w 59493"/>
                  <a:gd name="connsiteY10" fmla="*/ 20719 h 49259"/>
                  <a:gd name="connsiteX11" fmla="*/ 0 w 59493"/>
                  <a:gd name="connsiteY11" fmla="*/ 28641 h 49259"/>
                  <a:gd name="connsiteX12" fmla="*/ 24916 w 59493"/>
                  <a:gd name="connsiteY12" fmla="*/ 28641 h 49259"/>
                  <a:gd name="connsiteX13" fmla="*/ 24916 w 59493"/>
                  <a:gd name="connsiteY13" fmla="*/ 28641 h 4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493" h="49259">
                    <a:moveTo>
                      <a:pt x="24916" y="28641"/>
                    </a:moveTo>
                    <a:lnTo>
                      <a:pt x="24916" y="49259"/>
                    </a:lnTo>
                    <a:lnTo>
                      <a:pt x="34679" y="49259"/>
                    </a:lnTo>
                    <a:lnTo>
                      <a:pt x="34679" y="28641"/>
                    </a:lnTo>
                    <a:lnTo>
                      <a:pt x="59493" y="28641"/>
                    </a:lnTo>
                    <a:lnTo>
                      <a:pt x="59493" y="20719"/>
                    </a:lnTo>
                    <a:lnTo>
                      <a:pt x="34679" y="20719"/>
                    </a:lnTo>
                    <a:lnTo>
                      <a:pt x="34679" y="0"/>
                    </a:lnTo>
                    <a:lnTo>
                      <a:pt x="24916" y="0"/>
                    </a:lnTo>
                    <a:lnTo>
                      <a:pt x="24916" y="20719"/>
                    </a:lnTo>
                    <a:lnTo>
                      <a:pt x="0" y="20719"/>
                    </a:lnTo>
                    <a:lnTo>
                      <a:pt x="0" y="28641"/>
                    </a:lnTo>
                    <a:lnTo>
                      <a:pt x="24916" y="28641"/>
                    </a:lnTo>
                    <a:lnTo>
                      <a:pt x="24916" y="28641"/>
                    </a:lnTo>
                    <a:close/>
                  </a:path>
                </a:pathLst>
              </a:custGeom>
              <a:solidFill>
                <a:srgbClr val="E21D38"/>
              </a:solidFill>
              <a:ln w="10165" cap="flat">
                <a:solidFill>
                  <a:srgbClr val="E21D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19" name="Freeform 60">
                <a:extLst>
                  <a:ext uri="{FF2B5EF4-FFF2-40B4-BE49-F238E27FC236}">
                    <a16:creationId xmlns:a16="http://schemas.microsoft.com/office/drawing/2014/main" id="{95C08835-FAE8-9BAD-43F7-7C2D03FDEC18}"/>
                  </a:ext>
                </a:extLst>
              </p:cNvPr>
              <p:cNvSpPr/>
              <p:nvPr/>
            </p:nvSpPr>
            <p:spPr>
              <a:xfrm>
                <a:off x="6751204" y="1801507"/>
                <a:ext cx="69316" cy="52875"/>
              </a:xfrm>
              <a:custGeom>
                <a:avLst/>
                <a:gdLst>
                  <a:gd name="connsiteX0" fmla="*/ 24814 w 59492"/>
                  <a:gd name="connsiteY0" fmla="*/ 28641 h 49259"/>
                  <a:gd name="connsiteX1" fmla="*/ 24814 w 59492"/>
                  <a:gd name="connsiteY1" fmla="*/ 49259 h 49259"/>
                  <a:gd name="connsiteX2" fmla="*/ 34577 w 59492"/>
                  <a:gd name="connsiteY2" fmla="*/ 49259 h 49259"/>
                  <a:gd name="connsiteX3" fmla="*/ 34577 w 59492"/>
                  <a:gd name="connsiteY3" fmla="*/ 28641 h 49259"/>
                  <a:gd name="connsiteX4" fmla="*/ 59493 w 59492"/>
                  <a:gd name="connsiteY4" fmla="*/ 28641 h 49259"/>
                  <a:gd name="connsiteX5" fmla="*/ 59493 w 59492"/>
                  <a:gd name="connsiteY5" fmla="*/ 20719 h 49259"/>
                  <a:gd name="connsiteX6" fmla="*/ 34577 w 59492"/>
                  <a:gd name="connsiteY6" fmla="*/ 20719 h 49259"/>
                  <a:gd name="connsiteX7" fmla="*/ 34577 w 59492"/>
                  <a:gd name="connsiteY7" fmla="*/ 0 h 49259"/>
                  <a:gd name="connsiteX8" fmla="*/ 24814 w 59492"/>
                  <a:gd name="connsiteY8" fmla="*/ 0 h 49259"/>
                  <a:gd name="connsiteX9" fmla="*/ 24814 w 59492"/>
                  <a:gd name="connsiteY9" fmla="*/ 20719 h 49259"/>
                  <a:gd name="connsiteX10" fmla="*/ 0 w 59492"/>
                  <a:gd name="connsiteY10" fmla="*/ 20719 h 49259"/>
                  <a:gd name="connsiteX11" fmla="*/ 0 w 59492"/>
                  <a:gd name="connsiteY11" fmla="*/ 28641 h 49259"/>
                  <a:gd name="connsiteX12" fmla="*/ 24814 w 59492"/>
                  <a:gd name="connsiteY12" fmla="*/ 28641 h 49259"/>
                  <a:gd name="connsiteX13" fmla="*/ 24814 w 59492"/>
                  <a:gd name="connsiteY13" fmla="*/ 28641 h 4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492" h="49259">
                    <a:moveTo>
                      <a:pt x="24814" y="28641"/>
                    </a:moveTo>
                    <a:lnTo>
                      <a:pt x="24814" y="49259"/>
                    </a:lnTo>
                    <a:lnTo>
                      <a:pt x="34577" y="49259"/>
                    </a:lnTo>
                    <a:lnTo>
                      <a:pt x="34577" y="28641"/>
                    </a:lnTo>
                    <a:lnTo>
                      <a:pt x="59493" y="28641"/>
                    </a:lnTo>
                    <a:lnTo>
                      <a:pt x="59493" y="20719"/>
                    </a:lnTo>
                    <a:lnTo>
                      <a:pt x="34577" y="20719"/>
                    </a:lnTo>
                    <a:lnTo>
                      <a:pt x="34577" y="0"/>
                    </a:lnTo>
                    <a:lnTo>
                      <a:pt x="24814" y="0"/>
                    </a:lnTo>
                    <a:lnTo>
                      <a:pt x="24814" y="20719"/>
                    </a:lnTo>
                    <a:lnTo>
                      <a:pt x="0" y="20719"/>
                    </a:lnTo>
                    <a:lnTo>
                      <a:pt x="0" y="28641"/>
                    </a:lnTo>
                    <a:lnTo>
                      <a:pt x="24814" y="28641"/>
                    </a:lnTo>
                    <a:lnTo>
                      <a:pt x="24814" y="28641"/>
                    </a:lnTo>
                    <a:close/>
                  </a:path>
                </a:pathLst>
              </a:custGeom>
              <a:solidFill>
                <a:srgbClr val="E21D38"/>
              </a:solidFill>
              <a:ln w="10165" cap="flat">
                <a:solidFill>
                  <a:srgbClr val="E21D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0" name="Freeform 61">
                <a:extLst>
                  <a:ext uri="{FF2B5EF4-FFF2-40B4-BE49-F238E27FC236}">
                    <a16:creationId xmlns:a16="http://schemas.microsoft.com/office/drawing/2014/main" id="{CCFE00A6-DC9B-A95E-00F2-2FD0D43722B9}"/>
                  </a:ext>
                </a:extLst>
              </p:cNvPr>
              <p:cNvSpPr/>
              <p:nvPr/>
            </p:nvSpPr>
            <p:spPr>
              <a:xfrm>
                <a:off x="6757720" y="1801507"/>
                <a:ext cx="69199" cy="52875"/>
              </a:xfrm>
              <a:custGeom>
                <a:avLst/>
                <a:gdLst>
                  <a:gd name="connsiteX0" fmla="*/ 24814 w 59391"/>
                  <a:gd name="connsiteY0" fmla="*/ 28641 h 49259"/>
                  <a:gd name="connsiteX1" fmla="*/ 24814 w 59391"/>
                  <a:gd name="connsiteY1" fmla="*/ 49259 h 49259"/>
                  <a:gd name="connsiteX2" fmla="*/ 34577 w 59391"/>
                  <a:gd name="connsiteY2" fmla="*/ 49259 h 49259"/>
                  <a:gd name="connsiteX3" fmla="*/ 34577 w 59391"/>
                  <a:gd name="connsiteY3" fmla="*/ 28641 h 49259"/>
                  <a:gd name="connsiteX4" fmla="*/ 59391 w 59391"/>
                  <a:gd name="connsiteY4" fmla="*/ 28641 h 49259"/>
                  <a:gd name="connsiteX5" fmla="*/ 59391 w 59391"/>
                  <a:gd name="connsiteY5" fmla="*/ 20719 h 49259"/>
                  <a:gd name="connsiteX6" fmla="*/ 34577 w 59391"/>
                  <a:gd name="connsiteY6" fmla="*/ 20719 h 49259"/>
                  <a:gd name="connsiteX7" fmla="*/ 34577 w 59391"/>
                  <a:gd name="connsiteY7" fmla="*/ 0 h 49259"/>
                  <a:gd name="connsiteX8" fmla="*/ 24814 w 59391"/>
                  <a:gd name="connsiteY8" fmla="*/ 0 h 49259"/>
                  <a:gd name="connsiteX9" fmla="*/ 24814 w 59391"/>
                  <a:gd name="connsiteY9" fmla="*/ 20719 h 49259"/>
                  <a:gd name="connsiteX10" fmla="*/ 0 w 59391"/>
                  <a:gd name="connsiteY10" fmla="*/ 20719 h 49259"/>
                  <a:gd name="connsiteX11" fmla="*/ 0 w 59391"/>
                  <a:gd name="connsiteY11" fmla="*/ 28641 h 49259"/>
                  <a:gd name="connsiteX12" fmla="*/ 24814 w 59391"/>
                  <a:gd name="connsiteY12" fmla="*/ 28641 h 49259"/>
                  <a:gd name="connsiteX13" fmla="*/ 24814 w 59391"/>
                  <a:gd name="connsiteY13" fmla="*/ 28641 h 4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391" h="49259">
                    <a:moveTo>
                      <a:pt x="24814" y="28641"/>
                    </a:moveTo>
                    <a:lnTo>
                      <a:pt x="24814" y="49259"/>
                    </a:lnTo>
                    <a:lnTo>
                      <a:pt x="34577" y="49259"/>
                    </a:lnTo>
                    <a:lnTo>
                      <a:pt x="34577" y="28641"/>
                    </a:lnTo>
                    <a:lnTo>
                      <a:pt x="59391" y="28641"/>
                    </a:lnTo>
                    <a:lnTo>
                      <a:pt x="59391" y="20719"/>
                    </a:lnTo>
                    <a:lnTo>
                      <a:pt x="34577" y="20719"/>
                    </a:lnTo>
                    <a:lnTo>
                      <a:pt x="34577" y="0"/>
                    </a:lnTo>
                    <a:lnTo>
                      <a:pt x="24814" y="0"/>
                    </a:lnTo>
                    <a:lnTo>
                      <a:pt x="24814" y="20719"/>
                    </a:lnTo>
                    <a:lnTo>
                      <a:pt x="0" y="20719"/>
                    </a:lnTo>
                    <a:lnTo>
                      <a:pt x="0" y="28641"/>
                    </a:lnTo>
                    <a:lnTo>
                      <a:pt x="24814" y="28641"/>
                    </a:lnTo>
                    <a:lnTo>
                      <a:pt x="24814" y="28641"/>
                    </a:lnTo>
                    <a:close/>
                  </a:path>
                </a:pathLst>
              </a:custGeom>
              <a:solidFill>
                <a:srgbClr val="E21D38"/>
              </a:solidFill>
              <a:ln w="10165" cap="flat">
                <a:solidFill>
                  <a:srgbClr val="E21D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1" name="Freeform 62">
                <a:extLst>
                  <a:ext uri="{FF2B5EF4-FFF2-40B4-BE49-F238E27FC236}">
                    <a16:creationId xmlns:a16="http://schemas.microsoft.com/office/drawing/2014/main" id="{55417FAB-4EF7-E282-E9CF-A717DB6C5CF3}"/>
                  </a:ext>
                </a:extLst>
              </p:cNvPr>
              <p:cNvSpPr/>
              <p:nvPr/>
            </p:nvSpPr>
            <p:spPr>
              <a:xfrm>
                <a:off x="6770873" y="1801507"/>
                <a:ext cx="69199" cy="52875"/>
              </a:xfrm>
              <a:custGeom>
                <a:avLst/>
                <a:gdLst>
                  <a:gd name="connsiteX0" fmla="*/ 24814 w 59391"/>
                  <a:gd name="connsiteY0" fmla="*/ 28641 h 49259"/>
                  <a:gd name="connsiteX1" fmla="*/ 24814 w 59391"/>
                  <a:gd name="connsiteY1" fmla="*/ 49259 h 49259"/>
                  <a:gd name="connsiteX2" fmla="*/ 34577 w 59391"/>
                  <a:gd name="connsiteY2" fmla="*/ 49259 h 49259"/>
                  <a:gd name="connsiteX3" fmla="*/ 34577 w 59391"/>
                  <a:gd name="connsiteY3" fmla="*/ 28641 h 49259"/>
                  <a:gd name="connsiteX4" fmla="*/ 59392 w 59391"/>
                  <a:gd name="connsiteY4" fmla="*/ 28641 h 49259"/>
                  <a:gd name="connsiteX5" fmla="*/ 59392 w 59391"/>
                  <a:gd name="connsiteY5" fmla="*/ 20719 h 49259"/>
                  <a:gd name="connsiteX6" fmla="*/ 34577 w 59391"/>
                  <a:gd name="connsiteY6" fmla="*/ 20719 h 49259"/>
                  <a:gd name="connsiteX7" fmla="*/ 34577 w 59391"/>
                  <a:gd name="connsiteY7" fmla="*/ 0 h 49259"/>
                  <a:gd name="connsiteX8" fmla="*/ 24814 w 59391"/>
                  <a:gd name="connsiteY8" fmla="*/ 0 h 49259"/>
                  <a:gd name="connsiteX9" fmla="*/ 24814 w 59391"/>
                  <a:gd name="connsiteY9" fmla="*/ 20719 h 49259"/>
                  <a:gd name="connsiteX10" fmla="*/ 0 w 59391"/>
                  <a:gd name="connsiteY10" fmla="*/ 20719 h 49259"/>
                  <a:gd name="connsiteX11" fmla="*/ 0 w 59391"/>
                  <a:gd name="connsiteY11" fmla="*/ 28641 h 49259"/>
                  <a:gd name="connsiteX12" fmla="*/ 24814 w 59391"/>
                  <a:gd name="connsiteY12" fmla="*/ 28641 h 49259"/>
                  <a:gd name="connsiteX13" fmla="*/ 24814 w 59391"/>
                  <a:gd name="connsiteY13" fmla="*/ 28641 h 4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391" h="49259">
                    <a:moveTo>
                      <a:pt x="24814" y="28641"/>
                    </a:moveTo>
                    <a:lnTo>
                      <a:pt x="24814" y="49259"/>
                    </a:lnTo>
                    <a:lnTo>
                      <a:pt x="34577" y="49259"/>
                    </a:lnTo>
                    <a:lnTo>
                      <a:pt x="34577" y="28641"/>
                    </a:lnTo>
                    <a:lnTo>
                      <a:pt x="59392" y="28641"/>
                    </a:lnTo>
                    <a:lnTo>
                      <a:pt x="59392" y="20719"/>
                    </a:lnTo>
                    <a:lnTo>
                      <a:pt x="34577" y="20719"/>
                    </a:lnTo>
                    <a:lnTo>
                      <a:pt x="34577" y="0"/>
                    </a:lnTo>
                    <a:lnTo>
                      <a:pt x="24814" y="0"/>
                    </a:lnTo>
                    <a:lnTo>
                      <a:pt x="24814" y="20719"/>
                    </a:lnTo>
                    <a:lnTo>
                      <a:pt x="0" y="20719"/>
                    </a:lnTo>
                    <a:lnTo>
                      <a:pt x="0" y="28641"/>
                    </a:lnTo>
                    <a:lnTo>
                      <a:pt x="24814" y="28641"/>
                    </a:lnTo>
                    <a:lnTo>
                      <a:pt x="24814" y="28641"/>
                    </a:lnTo>
                    <a:close/>
                  </a:path>
                </a:pathLst>
              </a:custGeom>
              <a:solidFill>
                <a:srgbClr val="E21D38"/>
              </a:solidFill>
              <a:ln w="10165" cap="flat">
                <a:solidFill>
                  <a:srgbClr val="E21D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2" name="Freeform 63">
                <a:extLst>
                  <a:ext uri="{FF2B5EF4-FFF2-40B4-BE49-F238E27FC236}">
                    <a16:creationId xmlns:a16="http://schemas.microsoft.com/office/drawing/2014/main" id="{44121DF1-56B4-ACF6-F9ED-F79EDEB26E50}"/>
                  </a:ext>
                </a:extLst>
              </p:cNvPr>
              <p:cNvSpPr/>
              <p:nvPr/>
            </p:nvSpPr>
            <p:spPr>
              <a:xfrm>
                <a:off x="6783907" y="1801507"/>
                <a:ext cx="69199" cy="52875"/>
              </a:xfrm>
              <a:custGeom>
                <a:avLst/>
                <a:gdLst>
                  <a:gd name="connsiteX0" fmla="*/ 24814 w 59391"/>
                  <a:gd name="connsiteY0" fmla="*/ 28641 h 49259"/>
                  <a:gd name="connsiteX1" fmla="*/ 24814 w 59391"/>
                  <a:gd name="connsiteY1" fmla="*/ 49259 h 49259"/>
                  <a:gd name="connsiteX2" fmla="*/ 34577 w 59391"/>
                  <a:gd name="connsiteY2" fmla="*/ 49259 h 49259"/>
                  <a:gd name="connsiteX3" fmla="*/ 34577 w 59391"/>
                  <a:gd name="connsiteY3" fmla="*/ 28641 h 49259"/>
                  <a:gd name="connsiteX4" fmla="*/ 59391 w 59391"/>
                  <a:gd name="connsiteY4" fmla="*/ 28641 h 49259"/>
                  <a:gd name="connsiteX5" fmla="*/ 59391 w 59391"/>
                  <a:gd name="connsiteY5" fmla="*/ 20719 h 49259"/>
                  <a:gd name="connsiteX6" fmla="*/ 34577 w 59391"/>
                  <a:gd name="connsiteY6" fmla="*/ 20719 h 49259"/>
                  <a:gd name="connsiteX7" fmla="*/ 34577 w 59391"/>
                  <a:gd name="connsiteY7" fmla="*/ 0 h 49259"/>
                  <a:gd name="connsiteX8" fmla="*/ 24814 w 59391"/>
                  <a:gd name="connsiteY8" fmla="*/ 0 h 49259"/>
                  <a:gd name="connsiteX9" fmla="*/ 24814 w 59391"/>
                  <a:gd name="connsiteY9" fmla="*/ 20719 h 49259"/>
                  <a:gd name="connsiteX10" fmla="*/ 0 w 59391"/>
                  <a:gd name="connsiteY10" fmla="*/ 20719 h 49259"/>
                  <a:gd name="connsiteX11" fmla="*/ 0 w 59391"/>
                  <a:gd name="connsiteY11" fmla="*/ 28641 h 49259"/>
                  <a:gd name="connsiteX12" fmla="*/ 24814 w 59391"/>
                  <a:gd name="connsiteY12" fmla="*/ 28641 h 49259"/>
                  <a:gd name="connsiteX13" fmla="*/ 24814 w 59391"/>
                  <a:gd name="connsiteY13" fmla="*/ 28641 h 4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391" h="49259">
                    <a:moveTo>
                      <a:pt x="24814" y="28641"/>
                    </a:moveTo>
                    <a:lnTo>
                      <a:pt x="24814" y="49259"/>
                    </a:lnTo>
                    <a:lnTo>
                      <a:pt x="34577" y="49259"/>
                    </a:lnTo>
                    <a:lnTo>
                      <a:pt x="34577" y="28641"/>
                    </a:lnTo>
                    <a:lnTo>
                      <a:pt x="59391" y="28641"/>
                    </a:lnTo>
                    <a:lnTo>
                      <a:pt x="59391" y="20719"/>
                    </a:lnTo>
                    <a:lnTo>
                      <a:pt x="34577" y="20719"/>
                    </a:lnTo>
                    <a:lnTo>
                      <a:pt x="34577" y="0"/>
                    </a:lnTo>
                    <a:lnTo>
                      <a:pt x="24814" y="0"/>
                    </a:lnTo>
                    <a:lnTo>
                      <a:pt x="24814" y="20719"/>
                    </a:lnTo>
                    <a:lnTo>
                      <a:pt x="0" y="20719"/>
                    </a:lnTo>
                    <a:lnTo>
                      <a:pt x="0" y="28641"/>
                    </a:lnTo>
                    <a:lnTo>
                      <a:pt x="24814" y="28641"/>
                    </a:lnTo>
                    <a:lnTo>
                      <a:pt x="24814" y="28641"/>
                    </a:lnTo>
                    <a:close/>
                  </a:path>
                </a:pathLst>
              </a:custGeom>
              <a:solidFill>
                <a:srgbClr val="E21D38"/>
              </a:solidFill>
              <a:ln w="10165" cap="flat">
                <a:solidFill>
                  <a:srgbClr val="E21D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3" name="Freeform 64">
                <a:extLst>
                  <a:ext uri="{FF2B5EF4-FFF2-40B4-BE49-F238E27FC236}">
                    <a16:creationId xmlns:a16="http://schemas.microsoft.com/office/drawing/2014/main" id="{81CADE8C-DA5D-B62B-1EAC-1175907B1269}"/>
                  </a:ext>
                </a:extLst>
              </p:cNvPr>
              <p:cNvSpPr/>
              <p:nvPr/>
            </p:nvSpPr>
            <p:spPr>
              <a:xfrm>
                <a:off x="6803457" y="1801507"/>
                <a:ext cx="69199" cy="52875"/>
              </a:xfrm>
              <a:custGeom>
                <a:avLst/>
                <a:gdLst>
                  <a:gd name="connsiteX0" fmla="*/ 24814 w 59391"/>
                  <a:gd name="connsiteY0" fmla="*/ 28641 h 49259"/>
                  <a:gd name="connsiteX1" fmla="*/ 24814 w 59391"/>
                  <a:gd name="connsiteY1" fmla="*/ 49259 h 49259"/>
                  <a:gd name="connsiteX2" fmla="*/ 34577 w 59391"/>
                  <a:gd name="connsiteY2" fmla="*/ 49259 h 49259"/>
                  <a:gd name="connsiteX3" fmla="*/ 34577 w 59391"/>
                  <a:gd name="connsiteY3" fmla="*/ 28641 h 49259"/>
                  <a:gd name="connsiteX4" fmla="*/ 59392 w 59391"/>
                  <a:gd name="connsiteY4" fmla="*/ 28641 h 49259"/>
                  <a:gd name="connsiteX5" fmla="*/ 59392 w 59391"/>
                  <a:gd name="connsiteY5" fmla="*/ 20719 h 49259"/>
                  <a:gd name="connsiteX6" fmla="*/ 34577 w 59391"/>
                  <a:gd name="connsiteY6" fmla="*/ 20719 h 49259"/>
                  <a:gd name="connsiteX7" fmla="*/ 34577 w 59391"/>
                  <a:gd name="connsiteY7" fmla="*/ 0 h 49259"/>
                  <a:gd name="connsiteX8" fmla="*/ 24814 w 59391"/>
                  <a:gd name="connsiteY8" fmla="*/ 0 h 49259"/>
                  <a:gd name="connsiteX9" fmla="*/ 24814 w 59391"/>
                  <a:gd name="connsiteY9" fmla="*/ 20719 h 49259"/>
                  <a:gd name="connsiteX10" fmla="*/ 0 w 59391"/>
                  <a:gd name="connsiteY10" fmla="*/ 20719 h 49259"/>
                  <a:gd name="connsiteX11" fmla="*/ 0 w 59391"/>
                  <a:gd name="connsiteY11" fmla="*/ 28641 h 49259"/>
                  <a:gd name="connsiteX12" fmla="*/ 24814 w 59391"/>
                  <a:gd name="connsiteY12" fmla="*/ 28641 h 49259"/>
                  <a:gd name="connsiteX13" fmla="*/ 24814 w 59391"/>
                  <a:gd name="connsiteY13" fmla="*/ 28641 h 4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391" h="49259">
                    <a:moveTo>
                      <a:pt x="24814" y="28641"/>
                    </a:moveTo>
                    <a:lnTo>
                      <a:pt x="24814" y="49259"/>
                    </a:lnTo>
                    <a:lnTo>
                      <a:pt x="34577" y="49259"/>
                    </a:lnTo>
                    <a:lnTo>
                      <a:pt x="34577" y="28641"/>
                    </a:lnTo>
                    <a:lnTo>
                      <a:pt x="59392" y="28641"/>
                    </a:lnTo>
                    <a:lnTo>
                      <a:pt x="59392" y="20719"/>
                    </a:lnTo>
                    <a:lnTo>
                      <a:pt x="34577" y="20719"/>
                    </a:lnTo>
                    <a:lnTo>
                      <a:pt x="34577" y="0"/>
                    </a:lnTo>
                    <a:lnTo>
                      <a:pt x="24814" y="0"/>
                    </a:lnTo>
                    <a:lnTo>
                      <a:pt x="24814" y="20719"/>
                    </a:lnTo>
                    <a:lnTo>
                      <a:pt x="0" y="20719"/>
                    </a:lnTo>
                    <a:lnTo>
                      <a:pt x="0" y="28641"/>
                    </a:lnTo>
                    <a:lnTo>
                      <a:pt x="24814" y="28641"/>
                    </a:lnTo>
                    <a:lnTo>
                      <a:pt x="24814" y="28641"/>
                    </a:lnTo>
                    <a:close/>
                  </a:path>
                </a:pathLst>
              </a:custGeom>
              <a:solidFill>
                <a:srgbClr val="E21D38"/>
              </a:solidFill>
              <a:ln w="10165" cap="flat">
                <a:solidFill>
                  <a:srgbClr val="E21D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4" name="Freeform 65">
                <a:extLst>
                  <a:ext uri="{FF2B5EF4-FFF2-40B4-BE49-F238E27FC236}">
                    <a16:creationId xmlns:a16="http://schemas.microsoft.com/office/drawing/2014/main" id="{8AC56444-69C3-B85B-51A6-EA10179A6560}"/>
                  </a:ext>
                </a:extLst>
              </p:cNvPr>
              <p:cNvSpPr/>
              <p:nvPr/>
            </p:nvSpPr>
            <p:spPr>
              <a:xfrm>
                <a:off x="6816611" y="1801507"/>
                <a:ext cx="69199" cy="52875"/>
              </a:xfrm>
              <a:custGeom>
                <a:avLst/>
                <a:gdLst>
                  <a:gd name="connsiteX0" fmla="*/ 24814 w 59391"/>
                  <a:gd name="connsiteY0" fmla="*/ 28641 h 49259"/>
                  <a:gd name="connsiteX1" fmla="*/ 24814 w 59391"/>
                  <a:gd name="connsiteY1" fmla="*/ 49259 h 49259"/>
                  <a:gd name="connsiteX2" fmla="*/ 34577 w 59391"/>
                  <a:gd name="connsiteY2" fmla="*/ 49259 h 49259"/>
                  <a:gd name="connsiteX3" fmla="*/ 34577 w 59391"/>
                  <a:gd name="connsiteY3" fmla="*/ 28641 h 49259"/>
                  <a:gd name="connsiteX4" fmla="*/ 59391 w 59391"/>
                  <a:gd name="connsiteY4" fmla="*/ 28641 h 49259"/>
                  <a:gd name="connsiteX5" fmla="*/ 59391 w 59391"/>
                  <a:gd name="connsiteY5" fmla="*/ 20719 h 49259"/>
                  <a:gd name="connsiteX6" fmla="*/ 34577 w 59391"/>
                  <a:gd name="connsiteY6" fmla="*/ 20719 h 49259"/>
                  <a:gd name="connsiteX7" fmla="*/ 34577 w 59391"/>
                  <a:gd name="connsiteY7" fmla="*/ 0 h 49259"/>
                  <a:gd name="connsiteX8" fmla="*/ 24814 w 59391"/>
                  <a:gd name="connsiteY8" fmla="*/ 0 h 49259"/>
                  <a:gd name="connsiteX9" fmla="*/ 24814 w 59391"/>
                  <a:gd name="connsiteY9" fmla="*/ 20719 h 49259"/>
                  <a:gd name="connsiteX10" fmla="*/ 0 w 59391"/>
                  <a:gd name="connsiteY10" fmla="*/ 20719 h 49259"/>
                  <a:gd name="connsiteX11" fmla="*/ 0 w 59391"/>
                  <a:gd name="connsiteY11" fmla="*/ 28641 h 49259"/>
                  <a:gd name="connsiteX12" fmla="*/ 24814 w 59391"/>
                  <a:gd name="connsiteY12" fmla="*/ 28641 h 49259"/>
                  <a:gd name="connsiteX13" fmla="*/ 24814 w 59391"/>
                  <a:gd name="connsiteY13" fmla="*/ 28641 h 4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391" h="49259">
                    <a:moveTo>
                      <a:pt x="24814" y="28641"/>
                    </a:moveTo>
                    <a:lnTo>
                      <a:pt x="24814" y="49259"/>
                    </a:lnTo>
                    <a:lnTo>
                      <a:pt x="34577" y="49259"/>
                    </a:lnTo>
                    <a:lnTo>
                      <a:pt x="34577" y="28641"/>
                    </a:lnTo>
                    <a:lnTo>
                      <a:pt x="59391" y="28641"/>
                    </a:lnTo>
                    <a:lnTo>
                      <a:pt x="59391" y="20719"/>
                    </a:lnTo>
                    <a:lnTo>
                      <a:pt x="34577" y="20719"/>
                    </a:lnTo>
                    <a:lnTo>
                      <a:pt x="34577" y="0"/>
                    </a:lnTo>
                    <a:lnTo>
                      <a:pt x="24814" y="0"/>
                    </a:lnTo>
                    <a:lnTo>
                      <a:pt x="24814" y="20719"/>
                    </a:lnTo>
                    <a:lnTo>
                      <a:pt x="0" y="20719"/>
                    </a:lnTo>
                    <a:lnTo>
                      <a:pt x="0" y="28641"/>
                    </a:lnTo>
                    <a:lnTo>
                      <a:pt x="24814" y="28641"/>
                    </a:lnTo>
                    <a:lnTo>
                      <a:pt x="24814" y="28641"/>
                    </a:lnTo>
                    <a:close/>
                  </a:path>
                </a:pathLst>
              </a:custGeom>
              <a:solidFill>
                <a:srgbClr val="E21D38"/>
              </a:solidFill>
              <a:ln w="10165" cap="flat">
                <a:solidFill>
                  <a:srgbClr val="E21D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5" name="Freeform 66">
                <a:extLst>
                  <a:ext uri="{FF2B5EF4-FFF2-40B4-BE49-F238E27FC236}">
                    <a16:creationId xmlns:a16="http://schemas.microsoft.com/office/drawing/2014/main" id="{4950D865-DC00-03F2-97A6-7F8659124801}"/>
                  </a:ext>
                </a:extLst>
              </p:cNvPr>
              <p:cNvSpPr/>
              <p:nvPr/>
            </p:nvSpPr>
            <p:spPr>
              <a:xfrm>
                <a:off x="6829645" y="1801507"/>
                <a:ext cx="69316" cy="52875"/>
              </a:xfrm>
              <a:custGeom>
                <a:avLst/>
                <a:gdLst>
                  <a:gd name="connsiteX0" fmla="*/ 24916 w 59492"/>
                  <a:gd name="connsiteY0" fmla="*/ 28641 h 49259"/>
                  <a:gd name="connsiteX1" fmla="*/ 24916 w 59492"/>
                  <a:gd name="connsiteY1" fmla="*/ 49259 h 49259"/>
                  <a:gd name="connsiteX2" fmla="*/ 34577 w 59492"/>
                  <a:gd name="connsiteY2" fmla="*/ 49259 h 49259"/>
                  <a:gd name="connsiteX3" fmla="*/ 34577 w 59492"/>
                  <a:gd name="connsiteY3" fmla="*/ 28641 h 49259"/>
                  <a:gd name="connsiteX4" fmla="*/ 59493 w 59492"/>
                  <a:gd name="connsiteY4" fmla="*/ 28641 h 49259"/>
                  <a:gd name="connsiteX5" fmla="*/ 59493 w 59492"/>
                  <a:gd name="connsiteY5" fmla="*/ 20719 h 49259"/>
                  <a:gd name="connsiteX6" fmla="*/ 34577 w 59492"/>
                  <a:gd name="connsiteY6" fmla="*/ 20719 h 49259"/>
                  <a:gd name="connsiteX7" fmla="*/ 34577 w 59492"/>
                  <a:gd name="connsiteY7" fmla="*/ 0 h 49259"/>
                  <a:gd name="connsiteX8" fmla="*/ 24916 w 59492"/>
                  <a:gd name="connsiteY8" fmla="*/ 0 h 49259"/>
                  <a:gd name="connsiteX9" fmla="*/ 24916 w 59492"/>
                  <a:gd name="connsiteY9" fmla="*/ 20719 h 49259"/>
                  <a:gd name="connsiteX10" fmla="*/ 0 w 59492"/>
                  <a:gd name="connsiteY10" fmla="*/ 20719 h 49259"/>
                  <a:gd name="connsiteX11" fmla="*/ 0 w 59492"/>
                  <a:gd name="connsiteY11" fmla="*/ 28641 h 49259"/>
                  <a:gd name="connsiteX12" fmla="*/ 24916 w 59492"/>
                  <a:gd name="connsiteY12" fmla="*/ 28641 h 49259"/>
                  <a:gd name="connsiteX13" fmla="*/ 24916 w 59492"/>
                  <a:gd name="connsiteY13" fmla="*/ 28641 h 4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492" h="49259">
                    <a:moveTo>
                      <a:pt x="24916" y="28641"/>
                    </a:moveTo>
                    <a:lnTo>
                      <a:pt x="24916" y="49259"/>
                    </a:lnTo>
                    <a:lnTo>
                      <a:pt x="34577" y="49259"/>
                    </a:lnTo>
                    <a:lnTo>
                      <a:pt x="34577" y="28641"/>
                    </a:lnTo>
                    <a:lnTo>
                      <a:pt x="59493" y="28641"/>
                    </a:lnTo>
                    <a:lnTo>
                      <a:pt x="59493" y="20719"/>
                    </a:lnTo>
                    <a:lnTo>
                      <a:pt x="34577" y="20719"/>
                    </a:lnTo>
                    <a:lnTo>
                      <a:pt x="34577" y="0"/>
                    </a:lnTo>
                    <a:lnTo>
                      <a:pt x="24916" y="0"/>
                    </a:lnTo>
                    <a:lnTo>
                      <a:pt x="24916" y="20719"/>
                    </a:lnTo>
                    <a:lnTo>
                      <a:pt x="0" y="20719"/>
                    </a:lnTo>
                    <a:lnTo>
                      <a:pt x="0" y="28641"/>
                    </a:lnTo>
                    <a:lnTo>
                      <a:pt x="24916" y="28641"/>
                    </a:lnTo>
                    <a:lnTo>
                      <a:pt x="24916" y="28641"/>
                    </a:lnTo>
                    <a:close/>
                  </a:path>
                </a:pathLst>
              </a:custGeom>
              <a:solidFill>
                <a:srgbClr val="E21D38"/>
              </a:solidFill>
              <a:ln w="10165" cap="flat">
                <a:solidFill>
                  <a:srgbClr val="E21D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sp>
          <p:nvSpPr>
            <p:cNvPr id="380" name="Freeform 48">
              <a:extLst>
                <a:ext uri="{FF2B5EF4-FFF2-40B4-BE49-F238E27FC236}">
                  <a16:creationId xmlns:a16="http://schemas.microsoft.com/office/drawing/2014/main" id="{106952B0-C07D-ABA3-E3E4-950DA2C31AE7}"/>
                </a:ext>
              </a:extLst>
            </p:cNvPr>
            <p:cNvSpPr/>
            <p:nvPr/>
          </p:nvSpPr>
          <p:spPr>
            <a:xfrm>
              <a:off x="6376835" y="1867162"/>
              <a:ext cx="69317" cy="97042"/>
            </a:xfrm>
            <a:custGeom>
              <a:avLst/>
              <a:gdLst>
                <a:gd name="connsiteX0" fmla="*/ 24814 w 59493"/>
                <a:gd name="connsiteY0" fmla="*/ 28641 h 49259"/>
                <a:gd name="connsiteX1" fmla="*/ 24814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814 w 59493"/>
                <a:gd name="connsiteY8" fmla="*/ 0 h 49259"/>
                <a:gd name="connsiteX9" fmla="*/ 24814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814 w 59493"/>
                <a:gd name="connsiteY12" fmla="*/ 28641 h 49259"/>
                <a:gd name="connsiteX13" fmla="*/ 24814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1" name="Freeform 49">
              <a:extLst>
                <a:ext uri="{FF2B5EF4-FFF2-40B4-BE49-F238E27FC236}">
                  <a16:creationId xmlns:a16="http://schemas.microsoft.com/office/drawing/2014/main" id="{CC8E2EE2-A0B8-9922-7167-F3726408DC90}"/>
                </a:ext>
              </a:extLst>
            </p:cNvPr>
            <p:cNvSpPr/>
            <p:nvPr/>
          </p:nvSpPr>
          <p:spPr>
            <a:xfrm>
              <a:off x="6404014" y="1867162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2" name="Freeform 50">
              <a:extLst>
                <a:ext uri="{FF2B5EF4-FFF2-40B4-BE49-F238E27FC236}">
                  <a16:creationId xmlns:a16="http://schemas.microsoft.com/office/drawing/2014/main" id="{C2A4A3AA-A5DE-5BE2-2999-01F601A25E9A}"/>
                </a:ext>
              </a:extLst>
            </p:cNvPr>
            <p:cNvSpPr/>
            <p:nvPr/>
          </p:nvSpPr>
          <p:spPr>
            <a:xfrm>
              <a:off x="6425848" y="1867162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3" name="Freeform 51">
              <a:extLst>
                <a:ext uri="{FF2B5EF4-FFF2-40B4-BE49-F238E27FC236}">
                  <a16:creationId xmlns:a16="http://schemas.microsoft.com/office/drawing/2014/main" id="{6CCB20C8-DD0C-81AC-31DB-37E83865C100}"/>
                </a:ext>
              </a:extLst>
            </p:cNvPr>
            <p:cNvSpPr/>
            <p:nvPr/>
          </p:nvSpPr>
          <p:spPr>
            <a:xfrm>
              <a:off x="6432246" y="1867162"/>
              <a:ext cx="69317" cy="97042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679 w 59493"/>
                <a:gd name="connsiteY2" fmla="*/ 49259 h 49259"/>
                <a:gd name="connsiteX3" fmla="*/ 34679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679 w 59493"/>
                <a:gd name="connsiteY6" fmla="*/ 20719 h 49259"/>
                <a:gd name="connsiteX7" fmla="*/ 34679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679" y="49259"/>
                  </a:lnTo>
                  <a:lnTo>
                    <a:pt x="34679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679" y="20719"/>
                  </a:lnTo>
                  <a:lnTo>
                    <a:pt x="34679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4" name="Freeform 52">
              <a:extLst>
                <a:ext uri="{FF2B5EF4-FFF2-40B4-BE49-F238E27FC236}">
                  <a16:creationId xmlns:a16="http://schemas.microsoft.com/office/drawing/2014/main" id="{8C932823-03B8-BBDF-974E-BC7AA9490733}"/>
                </a:ext>
              </a:extLst>
            </p:cNvPr>
            <p:cNvSpPr/>
            <p:nvPr/>
          </p:nvSpPr>
          <p:spPr>
            <a:xfrm>
              <a:off x="6451916" y="1867162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5" name="Freeform 53">
              <a:extLst>
                <a:ext uri="{FF2B5EF4-FFF2-40B4-BE49-F238E27FC236}">
                  <a16:creationId xmlns:a16="http://schemas.microsoft.com/office/drawing/2014/main" id="{CD07DE5E-B606-0F0E-1772-0A543BD09B92}"/>
                </a:ext>
              </a:extLst>
            </p:cNvPr>
            <p:cNvSpPr/>
            <p:nvPr/>
          </p:nvSpPr>
          <p:spPr>
            <a:xfrm>
              <a:off x="6458552" y="1867162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6" name="Freeform 54">
              <a:extLst>
                <a:ext uri="{FF2B5EF4-FFF2-40B4-BE49-F238E27FC236}">
                  <a16:creationId xmlns:a16="http://schemas.microsoft.com/office/drawing/2014/main" id="{54EE67F1-F713-8F65-6658-874A7D30722D}"/>
                </a:ext>
              </a:extLst>
            </p:cNvPr>
            <p:cNvSpPr/>
            <p:nvPr/>
          </p:nvSpPr>
          <p:spPr>
            <a:xfrm>
              <a:off x="6474299" y="1867162"/>
              <a:ext cx="69199" cy="9704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7" name="Freeform 40">
              <a:extLst>
                <a:ext uri="{FF2B5EF4-FFF2-40B4-BE49-F238E27FC236}">
                  <a16:creationId xmlns:a16="http://schemas.microsoft.com/office/drawing/2014/main" id="{C580DAD0-7067-AB68-F43A-104A8CCDE5C0}"/>
                </a:ext>
              </a:extLst>
            </p:cNvPr>
            <p:cNvSpPr/>
            <p:nvPr/>
          </p:nvSpPr>
          <p:spPr>
            <a:xfrm>
              <a:off x="5759273" y="1857584"/>
              <a:ext cx="69199" cy="97956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8" name="Freeform 41">
              <a:extLst>
                <a:ext uri="{FF2B5EF4-FFF2-40B4-BE49-F238E27FC236}">
                  <a16:creationId xmlns:a16="http://schemas.microsoft.com/office/drawing/2014/main" id="{B34E1073-B464-D04B-6FB2-1839D4BFBFC7}"/>
                </a:ext>
              </a:extLst>
            </p:cNvPr>
            <p:cNvSpPr/>
            <p:nvPr/>
          </p:nvSpPr>
          <p:spPr>
            <a:xfrm>
              <a:off x="5878323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9" name="Freeform 42">
              <a:extLst>
                <a:ext uri="{FF2B5EF4-FFF2-40B4-BE49-F238E27FC236}">
                  <a16:creationId xmlns:a16="http://schemas.microsoft.com/office/drawing/2014/main" id="{D9628884-1A47-8923-8DF2-59622BEF6C98}"/>
                </a:ext>
              </a:extLst>
            </p:cNvPr>
            <p:cNvSpPr/>
            <p:nvPr/>
          </p:nvSpPr>
          <p:spPr>
            <a:xfrm>
              <a:off x="5922942" y="1857584"/>
              <a:ext cx="69199" cy="97956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0" name="Freeform 43">
              <a:extLst>
                <a:ext uri="{FF2B5EF4-FFF2-40B4-BE49-F238E27FC236}">
                  <a16:creationId xmlns:a16="http://schemas.microsoft.com/office/drawing/2014/main" id="{A91B2C08-DDA2-AC19-4AE1-EF1F76739F80}"/>
                </a:ext>
              </a:extLst>
            </p:cNvPr>
            <p:cNvSpPr/>
            <p:nvPr/>
          </p:nvSpPr>
          <p:spPr>
            <a:xfrm>
              <a:off x="5902755" y="1857584"/>
              <a:ext cx="69199" cy="97956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1" name="Freeform 44">
              <a:extLst>
                <a:ext uri="{FF2B5EF4-FFF2-40B4-BE49-F238E27FC236}">
                  <a16:creationId xmlns:a16="http://schemas.microsoft.com/office/drawing/2014/main" id="{939B337F-D6EE-F473-FFE7-F142B6ED266D}"/>
                </a:ext>
              </a:extLst>
            </p:cNvPr>
            <p:cNvSpPr/>
            <p:nvPr/>
          </p:nvSpPr>
          <p:spPr>
            <a:xfrm>
              <a:off x="5806878" y="1857584"/>
              <a:ext cx="69199" cy="97956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2" name="Freeform 45">
              <a:extLst>
                <a:ext uri="{FF2B5EF4-FFF2-40B4-BE49-F238E27FC236}">
                  <a16:creationId xmlns:a16="http://schemas.microsoft.com/office/drawing/2014/main" id="{820803F0-E757-5E9B-FBE9-2E4D441AB30E}"/>
                </a:ext>
              </a:extLst>
            </p:cNvPr>
            <p:cNvSpPr/>
            <p:nvPr/>
          </p:nvSpPr>
          <p:spPr>
            <a:xfrm>
              <a:off x="5862150" y="1857584"/>
              <a:ext cx="69317" cy="99072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3" name="Freeform 46">
              <a:extLst>
                <a:ext uri="{FF2B5EF4-FFF2-40B4-BE49-F238E27FC236}">
                  <a16:creationId xmlns:a16="http://schemas.microsoft.com/office/drawing/2014/main" id="{9082FA4F-F115-2DB6-3008-6D68F8F25FA3}"/>
                </a:ext>
              </a:extLst>
            </p:cNvPr>
            <p:cNvSpPr/>
            <p:nvPr/>
          </p:nvSpPr>
          <p:spPr>
            <a:xfrm>
              <a:off x="5886581" y="1857584"/>
              <a:ext cx="69199" cy="99072"/>
            </a:xfrm>
            <a:custGeom>
              <a:avLst/>
              <a:gdLst>
                <a:gd name="connsiteX0" fmla="*/ 24814 w 59391"/>
                <a:gd name="connsiteY0" fmla="*/ 28641 h 49259"/>
                <a:gd name="connsiteX1" fmla="*/ 24814 w 59391"/>
                <a:gd name="connsiteY1" fmla="*/ 49259 h 49259"/>
                <a:gd name="connsiteX2" fmla="*/ 34577 w 59391"/>
                <a:gd name="connsiteY2" fmla="*/ 49259 h 49259"/>
                <a:gd name="connsiteX3" fmla="*/ 34577 w 59391"/>
                <a:gd name="connsiteY3" fmla="*/ 28641 h 49259"/>
                <a:gd name="connsiteX4" fmla="*/ 59391 w 59391"/>
                <a:gd name="connsiteY4" fmla="*/ 28641 h 49259"/>
                <a:gd name="connsiteX5" fmla="*/ 59391 w 59391"/>
                <a:gd name="connsiteY5" fmla="*/ 20719 h 49259"/>
                <a:gd name="connsiteX6" fmla="*/ 34577 w 59391"/>
                <a:gd name="connsiteY6" fmla="*/ 20719 h 49259"/>
                <a:gd name="connsiteX7" fmla="*/ 34577 w 59391"/>
                <a:gd name="connsiteY7" fmla="*/ 0 h 49259"/>
                <a:gd name="connsiteX8" fmla="*/ 24814 w 59391"/>
                <a:gd name="connsiteY8" fmla="*/ 0 h 49259"/>
                <a:gd name="connsiteX9" fmla="*/ 24814 w 59391"/>
                <a:gd name="connsiteY9" fmla="*/ 20719 h 49259"/>
                <a:gd name="connsiteX10" fmla="*/ 0 w 59391"/>
                <a:gd name="connsiteY10" fmla="*/ 20719 h 49259"/>
                <a:gd name="connsiteX11" fmla="*/ 0 w 59391"/>
                <a:gd name="connsiteY11" fmla="*/ 28641 h 49259"/>
                <a:gd name="connsiteX12" fmla="*/ 24814 w 59391"/>
                <a:gd name="connsiteY12" fmla="*/ 28641 h 49259"/>
                <a:gd name="connsiteX13" fmla="*/ 24814 w 59391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91" h="49259">
                  <a:moveTo>
                    <a:pt x="24814" y="28641"/>
                  </a:moveTo>
                  <a:lnTo>
                    <a:pt x="24814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391" y="28641"/>
                  </a:lnTo>
                  <a:lnTo>
                    <a:pt x="59391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814" y="0"/>
                  </a:lnTo>
                  <a:lnTo>
                    <a:pt x="24814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814" y="28641"/>
                  </a:lnTo>
                  <a:lnTo>
                    <a:pt x="24814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4" name="Freeform 41">
              <a:extLst>
                <a:ext uri="{FF2B5EF4-FFF2-40B4-BE49-F238E27FC236}">
                  <a16:creationId xmlns:a16="http://schemas.microsoft.com/office/drawing/2014/main" id="{D59B430F-815A-5D3E-0863-954E5E0AEA61}"/>
                </a:ext>
              </a:extLst>
            </p:cNvPr>
            <p:cNvSpPr/>
            <p:nvPr/>
          </p:nvSpPr>
          <p:spPr>
            <a:xfrm>
              <a:off x="5833371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5" name="Freeform 41">
              <a:extLst>
                <a:ext uri="{FF2B5EF4-FFF2-40B4-BE49-F238E27FC236}">
                  <a16:creationId xmlns:a16="http://schemas.microsoft.com/office/drawing/2014/main" id="{1C44C66B-9230-4B61-946F-01A353F05E69}"/>
                </a:ext>
              </a:extLst>
            </p:cNvPr>
            <p:cNvSpPr/>
            <p:nvPr/>
          </p:nvSpPr>
          <p:spPr>
            <a:xfrm>
              <a:off x="5852898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6" name="Freeform 41">
              <a:extLst>
                <a:ext uri="{FF2B5EF4-FFF2-40B4-BE49-F238E27FC236}">
                  <a16:creationId xmlns:a16="http://schemas.microsoft.com/office/drawing/2014/main" id="{0B8ECAB4-7243-D3B0-C929-FA8557DE24E7}"/>
                </a:ext>
              </a:extLst>
            </p:cNvPr>
            <p:cNvSpPr/>
            <p:nvPr/>
          </p:nvSpPr>
          <p:spPr>
            <a:xfrm>
              <a:off x="5513552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7" name="Freeform 41">
              <a:extLst>
                <a:ext uri="{FF2B5EF4-FFF2-40B4-BE49-F238E27FC236}">
                  <a16:creationId xmlns:a16="http://schemas.microsoft.com/office/drawing/2014/main" id="{1E00E89C-B8F1-2771-B2B0-D9EA7A159D25}"/>
                </a:ext>
              </a:extLst>
            </p:cNvPr>
            <p:cNvSpPr/>
            <p:nvPr/>
          </p:nvSpPr>
          <p:spPr>
            <a:xfrm>
              <a:off x="5371939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8" name="Freeform 41">
              <a:extLst>
                <a:ext uri="{FF2B5EF4-FFF2-40B4-BE49-F238E27FC236}">
                  <a16:creationId xmlns:a16="http://schemas.microsoft.com/office/drawing/2014/main" id="{594C0755-EB62-9C49-38BE-C764A1D12094}"/>
                </a:ext>
              </a:extLst>
            </p:cNvPr>
            <p:cNvSpPr/>
            <p:nvPr/>
          </p:nvSpPr>
          <p:spPr>
            <a:xfrm>
              <a:off x="5157355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99" name="Freeform 41">
              <a:extLst>
                <a:ext uri="{FF2B5EF4-FFF2-40B4-BE49-F238E27FC236}">
                  <a16:creationId xmlns:a16="http://schemas.microsoft.com/office/drawing/2014/main" id="{4B7BEDF5-B005-D6C1-D8D5-D6A7587CBC87}"/>
                </a:ext>
              </a:extLst>
            </p:cNvPr>
            <p:cNvSpPr/>
            <p:nvPr/>
          </p:nvSpPr>
          <p:spPr>
            <a:xfrm>
              <a:off x="4739561" y="1836849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0" name="Freeform 41">
              <a:extLst>
                <a:ext uri="{FF2B5EF4-FFF2-40B4-BE49-F238E27FC236}">
                  <a16:creationId xmlns:a16="http://schemas.microsoft.com/office/drawing/2014/main" id="{6389A439-A106-A502-419B-19FB1A290531}"/>
                </a:ext>
              </a:extLst>
            </p:cNvPr>
            <p:cNvSpPr/>
            <p:nvPr/>
          </p:nvSpPr>
          <p:spPr>
            <a:xfrm>
              <a:off x="4694195" y="1836849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1" name="Freeform 41">
              <a:extLst>
                <a:ext uri="{FF2B5EF4-FFF2-40B4-BE49-F238E27FC236}">
                  <a16:creationId xmlns:a16="http://schemas.microsoft.com/office/drawing/2014/main" id="{7BB9CE7F-1B4F-3A34-FAFC-3D65722AA487}"/>
                </a:ext>
              </a:extLst>
            </p:cNvPr>
            <p:cNvSpPr/>
            <p:nvPr/>
          </p:nvSpPr>
          <p:spPr>
            <a:xfrm>
              <a:off x="4660886" y="1836849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2" name="Freeform 41">
              <a:extLst>
                <a:ext uri="{FF2B5EF4-FFF2-40B4-BE49-F238E27FC236}">
                  <a16:creationId xmlns:a16="http://schemas.microsoft.com/office/drawing/2014/main" id="{022CF624-498B-2D09-BB58-EA6E93329C50}"/>
                </a:ext>
              </a:extLst>
            </p:cNvPr>
            <p:cNvSpPr/>
            <p:nvPr/>
          </p:nvSpPr>
          <p:spPr>
            <a:xfrm>
              <a:off x="5200013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3" name="Freeform 41">
              <a:extLst>
                <a:ext uri="{FF2B5EF4-FFF2-40B4-BE49-F238E27FC236}">
                  <a16:creationId xmlns:a16="http://schemas.microsoft.com/office/drawing/2014/main" id="{9E94D632-43FB-8117-90BD-4CFE31957444}"/>
                </a:ext>
              </a:extLst>
            </p:cNvPr>
            <p:cNvSpPr/>
            <p:nvPr/>
          </p:nvSpPr>
          <p:spPr>
            <a:xfrm>
              <a:off x="5216818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4" name="Freeform 41">
              <a:extLst>
                <a:ext uri="{FF2B5EF4-FFF2-40B4-BE49-F238E27FC236}">
                  <a16:creationId xmlns:a16="http://schemas.microsoft.com/office/drawing/2014/main" id="{BC3E89FA-E4D1-45B7-DE6A-F284DE6C53FD}"/>
                </a:ext>
              </a:extLst>
            </p:cNvPr>
            <p:cNvSpPr/>
            <p:nvPr/>
          </p:nvSpPr>
          <p:spPr>
            <a:xfrm>
              <a:off x="5226387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5" name="Freeform 41">
              <a:extLst>
                <a:ext uri="{FF2B5EF4-FFF2-40B4-BE49-F238E27FC236}">
                  <a16:creationId xmlns:a16="http://schemas.microsoft.com/office/drawing/2014/main" id="{57ED637B-9AF3-ADC2-D607-3A0E3E295A9F}"/>
                </a:ext>
              </a:extLst>
            </p:cNvPr>
            <p:cNvSpPr/>
            <p:nvPr/>
          </p:nvSpPr>
          <p:spPr>
            <a:xfrm>
              <a:off x="5254621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6" name="Freeform 41">
              <a:extLst>
                <a:ext uri="{FF2B5EF4-FFF2-40B4-BE49-F238E27FC236}">
                  <a16:creationId xmlns:a16="http://schemas.microsoft.com/office/drawing/2014/main" id="{5B542027-552B-9999-2A17-6E6D0F13F2BF}"/>
                </a:ext>
              </a:extLst>
            </p:cNvPr>
            <p:cNvSpPr/>
            <p:nvPr/>
          </p:nvSpPr>
          <p:spPr>
            <a:xfrm>
              <a:off x="5275729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7" name="Freeform 41">
              <a:extLst>
                <a:ext uri="{FF2B5EF4-FFF2-40B4-BE49-F238E27FC236}">
                  <a16:creationId xmlns:a16="http://schemas.microsoft.com/office/drawing/2014/main" id="{52A585C9-3E3B-8EE8-D5E4-C1D835D6E608}"/>
                </a:ext>
              </a:extLst>
            </p:cNvPr>
            <p:cNvSpPr/>
            <p:nvPr/>
          </p:nvSpPr>
          <p:spPr>
            <a:xfrm>
              <a:off x="5302027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8" name="Freeform 41">
              <a:extLst>
                <a:ext uri="{FF2B5EF4-FFF2-40B4-BE49-F238E27FC236}">
                  <a16:creationId xmlns:a16="http://schemas.microsoft.com/office/drawing/2014/main" id="{6752E0FE-6F1A-93E4-B02B-97F888DB2A5F}"/>
                </a:ext>
              </a:extLst>
            </p:cNvPr>
            <p:cNvSpPr/>
            <p:nvPr/>
          </p:nvSpPr>
          <p:spPr>
            <a:xfrm>
              <a:off x="5317982" y="185758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9" name="Freeform 41">
              <a:extLst>
                <a:ext uri="{FF2B5EF4-FFF2-40B4-BE49-F238E27FC236}">
                  <a16:creationId xmlns:a16="http://schemas.microsoft.com/office/drawing/2014/main" id="{52AC66E4-3BDB-2601-2076-CFB9ADDC3874}"/>
                </a:ext>
              </a:extLst>
            </p:cNvPr>
            <p:cNvSpPr/>
            <p:nvPr/>
          </p:nvSpPr>
          <p:spPr>
            <a:xfrm>
              <a:off x="3615841" y="1775037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10" name="Freeform 41">
              <a:extLst>
                <a:ext uri="{FF2B5EF4-FFF2-40B4-BE49-F238E27FC236}">
                  <a16:creationId xmlns:a16="http://schemas.microsoft.com/office/drawing/2014/main" id="{BCDDD52B-9B2F-CE83-DC09-1D8A74B788C1}"/>
                </a:ext>
              </a:extLst>
            </p:cNvPr>
            <p:cNvSpPr/>
            <p:nvPr/>
          </p:nvSpPr>
          <p:spPr>
            <a:xfrm>
              <a:off x="3577841" y="1775037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11" name="Freeform 41">
              <a:extLst>
                <a:ext uri="{FF2B5EF4-FFF2-40B4-BE49-F238E27FC236}">
                  <a16:creationId xmlns:a16="http://schemas.microsoft.com/office/drawing/2014/main" id="{E4E4C0D5-EE51-2325-F5B4-62B567E03A2C}"/>
                </a:ext>
              </a:extLst>
            </p:cNvPr>
            <p:cNvSpPr/>
            <p:nvPr/>
          </p:nvSpPr>
          <p:spPr>
            <a:xfrm>
              <a:off x="3391255" y="1744868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12" name="Freeform 41">
              <a:extLst>
                <a:ext uri="{FF2B5EF4-FFF2-40B4-BE49-F238E27FC236}">
                  <a16:creationId xmlns:a16="http://schemas.microsoft.com/office/drawing/2014/main" id="{054E53C2-DB9C-BC1F-2AEE-0F926BAE465A}"/>
                </a:ext>
              </a:extLst>
            </p:cNvPr>
            <p:cNvSpPr/>
            <p:nvPr/>
          </p:nvSpPr>
          <p:spPr>
            <a:xfrm>
              <a:off x="3284435" y="1744868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13" name="Freeform 41">
              <a:extLst>
                <a:ext uri="{FF2B5EF4-FFF2-40B4-BE49-F238E27FC236}">
                  <a16:creationId xmlns:a16="http://schemas.microsoft.com/office/drawing/2014/main" id="{5010DFA5-E04E-0E28-1901-B61BF790D44B}"/>
                </a:ext>
              </a:extLst>
            </p:cNvPr>
            <p:cNvSpPr/>
            <p:nvPr/>
          </p:nvSpPr>
          <p:spPr>
            <a:xfrm>
              <a:off x="2995573" y="1743295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14" name="Freeform 41">
              <a:extLst>
                <a:ext uri="{FF2B5EF4-FFF2-40B4-BE49-F238E27FC236}">
                  <a16:creationId xmlns:a16="http://schemas.microsoft.com/office/drawing/2014/main" id="{26B5685D-F2E9-7AB3-6353-F4399EAF8716}"/>
                </a:ext>
              </a:extLst>
            </p:cNvPr>
            <p:cNvSpPr/>
            <p:nvPr/>
          </p:nvSpPr>
          <p:spPr>
            <a:xfrm>
              <a:off x="2958260" y="1708077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15" name="Freeform 41">
              <a:extLst>
                <a:ext uri="{FF2B5EF4-FFF2-40B4-BE49-F238E27FC236}">
                  <a16:creationId xmlns:a16="http://schemas.microsoft.com/office/drawing/2014/main" id="{DAF6D8D6-2ECA-2C80-225D-A03B839BC3C2}"/>
                </a:ext>
              </a:extLst>
            </p:cNvPr>
            <p:cNvSpPr/>
            <p:nvPr/>
          </p:nvSpPr>
          <p:spPr>
            <a:xfrm>
              <a:off x="2907599" y="1630021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16" name="Freeform 41">
              <a:extLst>
                <a:ext uri="{FF2B5EF4-FFF2-40B4-BE49-F238E27FC236}">
                  <a16:creationId xmlns:a16="http://schemas.microsoft.com/office/drawing/2014/main" id="{ACAE3DC1-1EF7-0BA5-01DF-2F19AAC1398D}"/>
                </a:ext>
              </a:extLst>
            </p:cNvPr>
            <p:cNvSpPr/>
            <p:nvPr/>
          </p:nvSpPr>
          <p:spPr>
            <a:xfrm>
              <a:off x="2932929" y="1660224"/>
              <a:ext cx="69317" cy="97956"/>
            </a:xfrm>
            <a:custGeom>
              <a:avLst/>
              <a:gdLst>
                <a:gd name="connsiteX0" fmla="*/ 24916 w 59493"/>
                <a:gd name="connsiteY0" fmla="*/ 28641 h 49259"/>
                <a:gd name="connsiteX1" fmla="*/ 24916 w 59493"/>
                <a:gd name="connsiteY1" fmla="*/ 49259 h 49259"/>
                <a:gd name="connsiteX2" fmla="*/ 34577 w 59493"/>
                <a:gd name="connsiteY2" fmla="*/ 49259 h 49259"/>
                <a:gd name="connsiteX3" fmla="*/ 34577 w 59493"/>
                <a:gd name="connsiteY3" fmla="*/ 28641 h 49259"/>
                <a:gd name="connsiteX4" fmla="*/ 59493 w 59493"/>
                <a:gd name="connsiteY4" fmla="*/ 28641 h 49259"/>
                <a:gd name="connsiteX5" fmla="*/ 59493 w 59493"/>
                <a:gd name="connsiteY5" fmla="*/ 20719 h 49259"/>
                <a:gd name="connsiteX6" fmla="*/ 34577 w 59493"/>
                <a:gd name="connsiteY6" fmla="*/ 20719 h 49259"/>
                <a:gd name="connsiteX7" fmla="*/ 34577 w 59493"/>
                <a:gd name="connsiteY7" fmla="*/ 0 h 49259"/>
                <a:gd name="connsiteX8" fmla="*/ 24916 w 59493"/>
                <a:gd name="connsiteY8" fmla="*/ 0 h 49259"/>
                <a:gd name="connsiteX9" fmla="*/ 24916 w 59493"/>
                <a:gd name="connsiteY9" fmla="*/ 20719 h 49259"/>
                <a:gd name="connsiteX10" fmla="*/ 0 w 59493"/>
                <a:gd name="connsiteY10" fmla="*/ 20719 h 49259"/>
                <a:gd name="connsiteX11" fmla="*/ 0 w 59493"/>
                <a:gd name="connsiteY11" fmla="*/ 28641 h 49259"/>
                <a:gd name="connsiteX12" fmla="*/ 24916 w 59493"/>
                <a:gd name="connsiteY12" fmla="*/ 28641 h 49259"/>
                <a:gd name="connsiteX13" fmla="*/ 24916 w 59493"/>
                <a:gd name="connsiteY13" fmla="*/ 28641 h 4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493" h="49259">
                  <a:moveTo>
                    <a:pt x="24916" y="28641"/>
                  </a:moveTo>
                  <a:lnTo>
                    <a:pt x="24916" y="49259"/>
                  </a:lnTo>
                  <a:lnTo>
                    <a:pt x="34577" y="49259"/>
                  </a:lnTo>
                  <a:lnTo>
                    <a:pt x="34577" y="28641"/>
                  </a:lnTo>
                  <a:lnTo>
                    <a:pt x="59493" y="28641"/>
                  </a:lnTo>
                  <a:lnTo>
                    <a:pt x="59493" y="20719"/>
                  </a:lnTo>
                  <a:lnTo>
                    <a:pt x="34577" y="20719"/>
                  </a:lnTo>
                  <a:lnTo>
                    <a:pt x="34577" y="0"/>
                  </a:lnTo>
                  <a:lnTo>
                    <a:pt x="24916" y="0"/>
                  </a:lnTo>
                  <a:lnTo>
                    <a:pt x="24916" y="20719"/>
                  </a:lnTo>
                  <a:lnTo>
                    <a:pt x="0" y="20719"/>
                  </a:lnTo>
                  <a:lnTo>
                    <a:pt x="0" y="28641"/>
                  </a:lnTo>
                  <a:lnTo>
                    <a:pt x="24916" y="28641"/>
                  </a:lnTo>
                  <a:lnTo>
                    <a:pt x="24916" y="28641"/>
                  </a:lnTo>
                  <a:close/>
                </a:path>
              </a:pathLst>
            </a:custGeom>
            <a:solidFill>
              <a:srgbClr val="E21D38"/>
            </a:solidFill>
            <a:ln w="10165" cap="flat">
              <a:solidFill>
                <a:srgbClr val="E21D3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426" name="TextBox 425">
            <a:extLst>
              <a:ext uri="{FF2B5EF4-FFF2-40B4-BE49-F238E27FC236}">
                <a16:creationId xmlns:a16="http://schemas.microsoft.com/office/drawing/2014/main" id="{D7F07F17-3344-6F0F-8D44-CAC8D9E85C8E}"/>
              </a:ext>
            </a:extLst>
          </p:cNvPr>
          <p:cNvSpPr txBox="1"/>
          <p:nvPr/>
        </p:nvSpPr>
        <p:spPr>
          <a:xfrm>
            <a:off x="5500353" y="1272463"/>
            <a:ext cx="143614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-month DMFS</a:t>
            </a:r>
          </a:p>
        </p:txBody>
      </p:sp>
      <p:sp>
        <p:nvSpPr>
          <p:cNvPr id="427" name="Slide Number Placeholder 426">
            <a:extLst>
              <a:ext uri="{FF2B5EF4-FFF2-40B4-BE49-F238E27FC236}">
                <a16:creationId xmlns:a16="http://schemas.microsoft.com/office/drawing/2014/main" id="{A8B6F5D9-55E1-BA88-95BC-EB3ACFAEB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33F7A0-71F0-446B-9DE8-6D75BE64EE0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785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F8FF6-59A4-C2E1-71B3-1C2F0D52A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600" dirty="0"/>
              <a:t>Recurrence Type and Distant Recurrence Loc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2BDE72-F4AF-74F2-1A2D-8E43313AE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96B4A-66F4-420A-A099-F174BF1A0A20}" type="slidenum">
              <a:rPr lang="en-US" smtClean="0"/>
              <a:t>8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89C26C-D835-0128-0A25-5C9735D953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CD7EA8-766C-3078-4867-7292A49D0FB4}"/>
              </a:ext>
            </a:extLst>
          </p:cNvPr>
          <p:cNvSpPr txBox="1"/>
          <p:nvPr/>
        </p:nvSpPr>
        <p:spPr>
          <a:xfrm>
            <a:off x="583199" y="6052924"/>
            <a:ext cx="11137313" cy="200055"/>
          </a:xfrm>
          <a:prstGeom prst="rect">
            <a:avLst/>
          </a:prstGeom>
          <a:noFill/>
        </p:spPr>
        <p:txBody>
          <a:bodyPr wrap="square" lIns="91440" tIns="45720" rIns="91440" bIns="45720" anchor="b">
            <a:spAutoFit/>
          </a:bodyPr>
          <a:lstStyle/>
          <a:p>
            <a:r>
              <a:rPr lang="en-US" sz="700" baseline="30000" dirty="0">
                <a:solidFill>
                  <a:srgbClr val="002557"/>
                </a:solidFill>
              </a:rPr>
              <a:t>a</a:t>
            </a:r>
            <a:r>
              <a:rPr lang="en-US" sz="700" dirty="0">
                <a:solidFill>
                  <a:srgbClr val="002557"/>
                </a:solidFill>
              </a:rPr>
              <a:t>Other: new primary cutaneous melanoma or death (n = 1). </a:t>
            </a:r>
            <a:r>
              <a:rPr lang="en-US" sz="700" baseline="30000" dirty="0">
                <a:solidFill>
                  <a:srgbClr val="002557"/>
                </a:solidFill>
              </a:rPr>
              <a:t>b</a:t>
            </a:r>
            <a:r>
              <a:rPr lang="en-US" sz="700" dirty="0">
                <a:solidFill>
                  <a:srgbClr val="002557"/>
                </a:solidFill>
              </a:rPr>
              <a:t>Death from sepsis, unrelated to mRNA-4157 (V940) or pembro.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F985C21-652E-97C0-DC8D-8A894C0B7E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0194170"/>
              </p:ext>
            </p:extLst>
          </p:nvPr>
        </p:nvGraphicFramePr>
        <p:xfrm>
          <a:off x="6187213" y="1591598"/>
          <a:ext cx="5687708" cy="4352481"/>
        </p:xfrm>
        <a:graphic>
          <a:graphicData uri="http://schemas.openxmlformats.org/drawingml/2006/table">
            <a:tbl>
              <a:tblPr firstRow="1" bandRow="1"/>
              <a:tblGrid>
                <a:gridCol w="2795232">
                  <a:extLst>
                    <a:ext uri="{9D8B030D-6E8A-4147-A177-3AD203B41FA5}">
                      <a16:colId xmlns:a16="http://schemas.microsoft.com/office/drawing/2014/main" val="621311205"/>
                    </a:ext>
                  </a:extLst>
                </a:gridCol>
                <a:gridCol w="1563766">
                  <a:extLst>
                    <a:ext uri="{9D8B030D-6E8A-4147-A177-3AD203B41FA5}">
                      <a16:colId xmlns:a16="http://schemas.microsoft.com/office/drawing/2014/main" val="1029395902"/>
                    </a:ext>
                  </a:extLst>
                </a:gridCol>
                <a:gridCol w="1328710">
                  <a:extLst>
                    <a:ext uri="{9D8B030D-6E8A-4147-A177-3AD203B41FA5}">
                      <a16:colId xmlns:a16="http://schemas.microsoft.com/office/drawing/2014/main" val="1166763320"/>
                    </a:ext>
                  </a:extLst>
                </a:gridCol>
              </a:tblGrid>
              <a:tr h="3155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>
                        <a:lnSpc>
                          <a:spcPts val="1000"/>
                        </a:lnSpc>
                      </a:pPr>
                      <a:endParaRPr lang="en-US" sz="1200" b="1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mRNA-4157 (V940) + pembro 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(n = 107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mbro </a:t>
                      </a:r>
                      <a:b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n = 5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01184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en-US" sz="1200" b="1" dirty="0">
                          <a:latin typeface="+mn-lt"/>
                        </a:rPr>
                        <a:t>Patients with distant recurrence (with or without prior recurrence) or death, n (%)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200" b="1" dirty="0">
                          <a:latin typeface="+mn-lt"/>
                        </a:rPr>
                        <a:t>9 (8.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200" b="1" dirty="0">
                          <a:latin typeface="+mn-lt"/>
                        </a:rPr>
                        <a:t>12 (24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5416946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latin typeface="+mn-lt"/>
                        </a:rPr>
                        <a:t>Site of distant recurrence, n (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3101886"/>
                  </a:ext>
                </a:extLst>
              </a:tr>
              <a:tr h="256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Lymph nod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2 (1.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4 (8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919584"/>
                  </a:ext>
                </a:extLst>
              </a:tr>
              <a:tr h="256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2 (1.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4 (8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888168"/>
                  </a:ext>
                </a:extLst>
              </a:tr>
              <a:tr h="256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Liv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3 (2.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1 (2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018549"/>
                  </a:ext>
                </a:extLst>
              </a:tr>
              <a:tr h="256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Bone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1 (0.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2 (4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9468515"/>
                  </a:ext>
                </a:extLst>
              </a:tr>
              <a:tr h="256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Brai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(0.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3 (6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224372"/>
                  </a:ext>
                </a:extLst>
              </a:tr>
              <a:tr h="256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Ski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latin typeface="+mn-lt"/>
                        </a:rPr>
                        <a:t>4 (8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649731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Colo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(0.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(2.0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991972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Splee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(2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857191"/>
                  </a:ext>
                </a:extLst>
              </a:tr>
              <a:tr h="256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Soft tissue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(0.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95453"/>
                  </a:ext>
                </a:extLst>
              </a:tr>
              <a:tr h="256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Other site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(1.9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(2.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013796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0" dirty="0">
                          <a:latin typeface="+mn-lt"/>
                        </a:rPr>
                        <a:t>Death not due to melanoma 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(0.9)</a:t>
                      </a:r>
                      <a:r>
                        <a:rPr lang="en-US" sz="12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305928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9196AC2C-E88B-DF46-D27B-74B0BD17BADD}"/>
              </a:ext>
            </a:extLst>
          </p:cNvPr>
          <p:cNvSpPr txBox="1"/>
          <p:nvPr/>
        </p:nvSpPr>
        <p:spPr>
          <a:xfrm>
            <a:off x="2009775" y="1314450"/>
            <a:ext cx="342900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1D348F-7F1B-887F-CD11-491075D4271C}"/>
              </a:ext>
            </a:extLst>
          </p:cNvPr>
          <p:cNvSpPr txBox="1"/>
          <p:nvPr/>
        </p:nvSpPr>
        <p:spPr>
          <a:xfrm>
            <a:off x="640080" y="1573278"/>
            <a:ext cx="50785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2557"/>
                </a:solidFill>
              </a:rPr>
              <a:t>24/107 (22.4%) patients in the mRNA-4157 (V940) + pembro arm versus 20/50 (40.0%) in the pembro monotherapy arm experienced an RFS event </a:t>
            </a: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9C3CA29-2D62-F9E5-4AFB-2E99A951F439}"/>
              </a:ext>
            </a:extLst>
          </p:cNvPr>
          <p:cNvSpPr/>
          <p:nvPr/>
        </p:nvSpPr>
        <p:spPr>
          <a:xfrm>
            <a:off x="4711637" y="5512807"/>
            <a:ext cx="2597900" cy="152607"/>
          </a:xfrm>
          <a:custGeom>
            <a:avLst/>
            <a:gdLst>
              <a:gd name="connsiteX0" fmla="*/ 0 w 2597900"/>
              <a:gd name="connsiteY0" fmla="*/ 0 h 152607"/>
              <a:gd name="connsiteX1" fmla="*/ 2597901 w 2597900"/>
              <a:gd name="connsiteY1" fmla="*/ 0 h 152607"/>
              <a:gd name="connsiteX2" fmla="*/ 2597901 w 2597900"/>
              <a:gd name="connsiteY2" fmla="*/ 152607 h 152607"/>
              <a:gd name="connsiteX3" fmla="*/ 0 w 2597900"/>
              <a:gd name="connsiteY3" fmla="*/ 152607 h 152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7900" h="152607">
                <a:moveTo>
                  <a:pt x="0" y="0"/>
                </a:moveTo>
                <a:lnTo>
                  <a:pt x="2597901" y="0"/>
                </a:lnTo>
                <a:lnTo>
                  <a:pt x="2597901" y="152607"/>
                </a:lnTo>
                <a:lnTo>
                  <a:pt x="0" y="152607"/>
                </a:lnTo>
                <a:close/>
              </a:path>
            </a:pathLst>
          </a:custGeom>
          <a:noFill/>
          <a:ln w="119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71" name="Group 4">
            <a:extLst>
              <a:ext uri="{FF2B5EF4-FFF2-40B4-BE49-F238E27FC236}">
                <a16:creationId xmlns:a16="http://schemas.microsoft.com/office/drawing/2014/main" id="{A1D8C23F-FB65-5447-DAAA-B87585FCE1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7642" y="2494899"/>
            <a:ext cx="5397695" cy="3305826"/>
            <a:chOff x="344" y="1598"/>
            <a:chExt cx="3357" cy="2056"/>
          </a:xfrm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0CF14CF1-3E2B-9EDE-DB6F-1FC83F5321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4" y="1598"/>
              <a:ext cx="3357" cy="20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5">
              <a:extLst>
                <a:ext uri="{FF2B5EF4-FFF2-40B4-BE49-F238E27FC236}">
                  <a16:creationId xmlns:a16="http://schemas.microsoft.com/office/drawing/2014/main" id="{4CD65DA3-580B-FE12-D9D4-0E58632AF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" y="2300"/>
              <a:ext cx="347" cy="491"/>
            </a:xfrm>
            <a:custGeom>
              <a:avLst/>
              <a:gdLst>
                <a:gd name="T0" fmla="*/ 347 w 347"/>
                <a:gd name="T1" fmla="*/ 491 h 491"/>
                <a:gd name="T2" fmla="*/ 0 w 347"/>
                <a:gd name="T3" fmla="*/ 143 h 491"/>
                <a:gd name="T4" fmla="*/ 0 w 347"/>
                <a:gd name="T5" fmla="*/ 143 h 491"/>
                <a:gd name="T6" fmla="*/ 37 w 347"/>
                <a:gd name="T7" fmla="*/ 108 h 491"/>
                <a:gd name="T8" fmla="*/ 56 w 347"/>
                <a:gd name="T9" fmla="*/ 95 h 491"/>
                <a:gd name="T10" fmla="*/ 75 w 347"/>
                <a:gd name="T11" fmla="*/ 79 h 491"/>
                <a:gd name="T12" fmla="*/ 97 w 347"/>
                <a:gd name="T13" fmla="*/ 68 h 491"/>
                <a:gd name="T14" fmla="*/ 116 w 347"/>
                <a:gd name="T15" fmla="*/ 56 h 491"/>
                <a:gd name="T16" fmla="*/ 138 w 347"/>
                <a:gd name="T17" fmla="*/ 44 h 491"/>
                <a:gd name="T18" fmla="*/ 159 w 347"/>
                <a:gd name="T19" fmla="*/ 35 h 491"/>
                <a:gd name="T20" fmla="*/ 182 w 347"/>
                <a:gd name="T21" fmla="*/ 27 h 491"/>
                <a:gd name="T22" fmla="*/ 204 w 347"/>
                <a:gd name="T23" fmla="*/ 19 h 491"/>
                <a:gd name="T24" fmla="*/ 227 w 347"/>
                <a:gd name="T25" fmla="*/ 13 h 491"/>
                <a:gd name="T26" fmla="*/ 250 w 347"/>
                <a:gd name="T27" fmla="*/ 7 h 491"/>
                <a:gd name="T28" fmla="*/ 274 w 347"/>
                <a:gd name="T29" fmla="*/ 3 h 491"/>
                <a:gd name="T30" fmla="*/ 299 w 347"/>
                <a:gd name="T31" fmla="*/ 1 h 491"/>
                <a:gd name="T32" fmla="*/ 347 w 347"/>
                <a:gd name="T33" fmla="*/ 0 h 491"/>
                <a:gd name="T34" fmla="*/ 347 w 347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7" h="491">
                  <a:moveTo>
                    <a:pt x="347" y="491"/>
                  </a:moveTo>
                  <a:lnTo>
                    <a:pt x="0" y="143"/>
                  </a:lnTo>
                  <a:lnTo>
                    <a:pt x="0" y="143"/>
                  </a:lnTo>
                  <a:lnTo>
                    <a:pt x="37" y="108"/>
                  </a:lnTo>
                  <a:lnTo>
                    <a:pt x="56" y="95"/>
                  </a:lnTo>
                  <a:lnTo>
                    <a:pt x="75" y="79"/>
                  </a:lnTo>
                  <a:lnTo>
                    <a:pt x="97" y="68"/>
                  </a:lnTo>
                  <a:lnTo>
                    <a:pt x="116" y="56"/>
                  </a:lnTo>
                  <a:lnTo>
                    <a:pt x="138" y="44"/>
                  </a:lnTo>
                  <a:lnTo>
                    <a:pt x="159" y="35"/>
                  </a:lnTo>
                  <a:lnTo>
                    <a:pt x="182" y="27"/>
                  </a:lnTo>
                  <a:lnTo>
                    <a:pt x="204" y="19"/>
                  </a:lnTo>
                  <a:lnTo>
                    <a:pt x="227" y="13"/>
                  </a:lnTo>
                  <a:lnTo>
                    <a:pt x="250" y="7"/>
                  </a:lnTo>
                  <a:lnTo>
                    <a:pt x="274" y="3"/>
                  </a:lnTo>
                  <a:lnTo>
                    <a:pt x="299" y="1"/>
                  </a:lnTo>
                  <a:lnTo>
                    <a:pt x="347" y="0"/>
                  </a:lnTo>
                  <a:lnTo>
                    <a:pt x="347" y="491"/>
                  </a:lnTo>
                  <a:close/>
                </a:path>
              </a:pathLst>
            </a:custGeom>
            <a:solidFill>
              <a:srgbClr val="E21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3A9E282E-8467-D012-67F7-2C63BD31C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" y="2443"/>
              <a:ext cx="491" cy="774"/>
            </a:xfrm>
            <a:custGeom>
              <a:avLst/>
              <a:gdLst>
                <a:gd name="T0" fmla="*/ 491 w 491"/>
                <a:gd name="T1" fmla="*/ 348 h 774"/>
                <a:gd name="T2" fmla="*/ 247 w 491"/>
                <a:gd name="T3" fmla="*/ 774 h 774"/>
                <a:gd name="T4" fmla="*/ 247 w 491"/>
                <a:gd name="T5" fmla="*/ 774 h 774"/>
                <a:gd name="T6" fmla="*/ 225 w 491"/>
                <a:gd name="T7" fmla="*/ 760 h 774"/>
                <a:gd name="T8" fmla="*/ 204 w 491"/>
                <a:gd name="T9" fmla="*/ 747 h 774"/>
                <a:gd name="T10" fmla="*/ 184 w 491"/>
                <a:gd name="T11" fmla="*/ 731 h 774"/>
                <a:gd name="T12" fmla="*/ 165 w 491"/>
                <a:gd name="T13" fmla="*/ 715 h 774"/>
                <a:gd name="T14" fmla="*/ 147 w 491"/>
                <a:gd name="T15" fmla="*/ 698 h 774"/>
                <a:gd name="T16" fmla="*/ 130 w 491"/>
                <a:gd name="T17" fmla="*/ 680 h 774"/>
                <a:gd name="T18" fmla="*/ 114 w 491"/>
                <a:gd name="T19" fmla="*/ 663 h 774"/>
                <a:gd name="T20" fmla="*/ 99 w 491"/>
                <a:gd name="T21" fmla="*/ 644 h 774"/>
                <a:gd name="T22" fmla="*/ 85 w 491"/>
                <a:gd name="T23" fmla="*/ 624 h 774"/>
                <a:gd name="T24" fmla="*/ 74 w 491"/>
                <a:gd name="T25" fmla="*/ 605 h 774"/>
                <a:gd name="T26" fmla="*/ 50 w 491"/>
                <a:gd name="T27" fmla="*/ 564 h 774"/>
                <a:gd name="T28" fmla="*/ 31 w 491"/>
                <a:gd name="T29" fmla="*/ 519 h 774"/>
                <a:gd name="T30" fmla="*/ 17 w 491"/>
                <a:gd name="T31" fmla="*/ 474 h 774"/>
                <a:gd name="T32" fmla="*/ 8 w 491"/>
                <a:gd name="T33" fmla="*/ 430 h 774"/>
                <a:gd name="T34" fmla="*/ 2 w 491"/>
                <a:gd name="T35" fmla="*/ 381 h 774"/>
                <a:gd name="T36" fmla="*/ 0 w 491"/>
                <a:gd name="T37" fmla="*/ 335 h 774"/>
                <a:gd name="T38" fmla="*/ 2 w 491"/>
                <a:gd name="T39" fmla="*/ 311 h 774"/>
                <a:gd name="T40" fmla="*/ 4 w 491"/>
                <a:gd name="T41" fmla="*/ 286 h 774"/>
                <a:gd name="T42" fmla="*/ 8 w 491"/>
                <a:gd name="T43" fmla="*/ 263 h 774"/>
                <a:gd name="T44" fmla="*/ 11 w 491"/>
                <a:gd name="T45" fmla="*/ 239 h 774"/>
                <a:gd name="T46" fmla="*/ 17 w 491"/>
                <a:gd name="T47" fmla="*/ 216 h 774"/>
                <a:gd name="T48" fmla="*/ 25 w 491"/>
                <a:gd name="T49" fmla="*/ 193 h 774"/>
                <a:gd name="T50" fmla="*/ 33 w 491"/>
                <a:gd name="T51" fmla="*/ 169 h 774"/>
                <a:gd name="T52" fmla="*/ 43 w 491"/>
                <a:gd name="T53" fmla="*/ 146 h 774"/>
                <a:gd name="T54" fmla="*/ 54 w 491"/>
                <a:gd name="T55" fmla="*/ 125 h 774"/>
                <a:gd name="T56" fmla="*/ 66 w 491"/>
                <a:gd name="T57" fmla="*/ 101 h 774"/>
                <a:gd name="T58" fmla="*/ 66 w 491"/>
                <a:gd name="T59" fmla="*/ 101 h 774"/>
                <a:gd name="T60" fmla="*/ 83 w 491"/>
                <a:gd name="T61" fmla="*/ 74 h 774"/>
                <a:gd name="T62" fmla="*/ 103 w 491"/>
                <a:gd name="T63" fmla="*/ 49 h 774"/>
                <a:gd name="T64" fmla="*/ 122 w 491"/>
                <a:gd name="T65" fmla="*/ 24 h 774"/>
                <a:gd name="T66" fmla="*/ 144 w 491"/>
                <a:gd name="T67" fmla="*/ 0 h 774"/>
                <a:gd name="T68" fmla="*/ 491 w 491"/>
                <a:gd name="T69" fmla="*/ 348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1" h="774">
                  <a:moveTo>
                    <a:pt x="491" y="348"/>
                  </a:moveTo>
                  <a:lnTo>
                    <a:pt x="247" y="774"/>
                  </a:lnTo>
                  <a:lnTo>
                    <a:pt x="247" y="774"/>
                  </a:lnTo>
                  <a:lnTo>
                    <a:pt x="225" y="760"/>
                  </a:lnTo>
                  <a:lnTo>
                    <a:pt x="204" y="747"/>
                  </a:lnTo>
                  <a:lnTo>
                    <a:pt x="184" y="731"/>
                  </a:lnTo>
                  <a:lnTo>
                    <a:pt x="165" y="715"/>
                  </a:lnTo>
                  <a:lnTo>
                    <a:pt x="147" y="698"/>
                  </a:lnTo>
                  <a:lnTo>
                    <a:pt x="130" y="680"/>
                  </a:lnTo>
                  <a:lnTo>
                    <a:pt x="114" y="663"/>
                  </a:lnTo>
                  <a:lnTo>
                    <a:pt x="99" y="644"/>
                  </a:lnTo>
                  <a:lnTo>
                    <a:pt x="85" y="624"/>
                  </a:lnTo>
                  <a:lnTo>
                    <a:pt x="74" y="605"/>
                  </a:lnTo>
                  <a:lnTo>
                    <a:pt x="50" y="564"/>
                  </a:lnTo>
                  <a:lnTo>
                    <a:pt x="31" y="519"/>
                  </a:lnTo>
                  <a:lnTo>
                    <a:pt x="17" y="474"/>
                  </a:lnTo>
                  <a:lnTo>
                    <a:pt x="8" y="430"/>
                  </a:lnTo>
                  <a:lnTo>
                    <a:pt x="2" y="381"/>
                  </a:lnTo>
                  <a:lnTo>
                    <a:pt x="0" y="335"/>
                  </a:lnTo>
                  <a:lnTo>
                    <a:pt x="2" y="311"/>
                  </a:lnTo>
                  <a:lnTo>
                    <a:pt x="4" y="286"/>
                  </a:lnTo>
                  <a:lnTo>
                    <a:pt x="8" y="263"/>
                  </a:lnTo>
                  <a:lnTo>
                    <a:pt x="11" y="239"/>
                  </a:lnTo>
                  <a:lnTo>
                    <a:pt x="17" y="216"/>
                  </a:lnTo>
                  <a:lnTo>
                    <a:pt x="25" y="193"/>
                  </a:lnTo>
                  <a:lnTo>
                    <a:pt x="33" y="169"/>
                  </a:lnTo>
                  <a:lnTo>
                    <a:pt x="43" y="146"/>
                  </a:lnTo>
                  <a:lnTo>
                    <a:pt x="54" y="125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83" y="74"/>
                  </a:lnTo>
                  <a:lnTo>
                    <a:pt x="103" y="49"/>
                  </a:lnTo>
                  <a:lnTo>
                    <a:pt x="122" y="24"/>
                  </a:lnTo>
                  <a:lnTo>
                    <a:pt x="144" y="0"/>
                  </a:lnTo>
                  <a:lnTo>
                    <a:pt x="491" y="348"/>
                  </a:lnTo>
                  <a:close/>
                </a:path>
              </a:pathLst>
            </a:custGeom>
            <a:solidFill>
              <a:srgbClr val="BF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DDE0B677-062E-DC87-7D53-1F4A3E39B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" y="2300"/>
              <a:ext cx="736" cy="983"/>
            </a:xfrm>
            <a:custGeom>
              <a:avLst/>
              <a:gdLst>
                <a:gd name="T0" fmla="*/ 244 w 736"/>
                <a:gd name="T1" fmla="*/ 0 h 983"/>
                <a:gd name="T2" fmla="*/ 270 w 736"/>
                <a:gd name="T3" fmla="*/ 0 h 983"/>
                <a:gd name="T4" fmla="*/ 320 w 736"/>
                <a:gd name="T5" fmla="*/ 5 h 983"/>
                <a:gd name="T6" fmla="*/ 369 w 736"/>
                <a:gd name="T7" fmla="*/ 15 h 983"/>
                <a:gd name="T8" fmla="*/ 413 w 736"/>
                <a:gd name="T9" fmla="*/ 29 h 983"/>
                <a:gd name="T10" fmla="*/ 458 w 736"/>
                <a:gd name="T11" fmla="*/ 48 h 983"/>
                <a:gd name="T12" fmla="*/ 520 w 736"/>
                <a:gd name="T13" fmla="*/ 83 h 983"/>
                <a:gd name="T14" fmla="*/ 592 w 736"/>
                <a:gd name="T15" fmla="*/ 143 h 983"/>
                <a:gd name="T16" fmla="*/ 652 w 736"/>
                <a:gd name="T17" fmla="*/ 215 h 983"/>
                <a:gd name="T18" fmla="*/ 687 w 736"/>
                <a:gd name="T19" fmla="*/ 277 h 983"/>
                <a:gd name="T20" fmla="*/ 707 w 736"/>
                <a:gd name="T21" fmla="*/ 322 h 983"/>
                <a:gd name="T22" fmla="*/ 720 w 736"/>
                <a:gd name="T23" fmla="*/ 369 h 983"/>
                <a:gd name="T24" fmla="*/ 732 w 736"/>
                <a:gd name="T25" fmla="*/ 415 h 983"/>
                <a:gd name="T26" fmla="*/ 736 w 736"/>
                <a:gd name="T27" fmla="*/ 466 h 983"/>
                <a:gd name="T28" fmla="*/ 736 w 736"/>
                <a:gd name="T29" fmla="*/ 491 h 983"/>
                <a:gd name="T30" fmla="*/ 734 w 736"/>
                <a:gd name="T31" fmla="*/ 542 h 983"/>
                <a:gd name="T32" fmla="*/ 726 w 736"/>
                <a:gd name="T33" fmla="*/ 590 h 983"/>
                <a:gd name="T34" fmla="*/ 714 w 736"/>
                <a:gd name="T35" fmla="*/ 637 h 983"/>
                <a:gd name="T36" fmla="*/ 699 w 736"/>
                <a:gd name="T37" fmla="*/ 682 h 983"/>
                <a:gd name="T38" fmla="*/ 678 w 736"/>
                <a:gd name="T39" fmla="*/ 724 h 983"/>
                <a:gd name="T40" fmla="*/ 625 w 736"/>
                <a:gd name="T41" fmla="*/ 804 h 983"/>
                <a:gd name="T42" fmla="*/ 557 w 736"/>
                <a:gd name="T43" fmla="*/ 870 h 983"/>
                <a:gd name="T44" fmla="*/ 479 w 736"/>
                <a:gd name="T45" fmla="*/ 923 h 983"/>
                <a:gd name="T46" fmla="*/ 437 w 736"/>
                <a:gd name="T47" fmla="*/ 944 h 983"/>
                <a:gd name="T48" fmla="*/ 392 w 736"/>
                <a:gd name="T49" fmla="*/ 960 h 983"/>
                <a:gd name="T50" fmla="*/ 343 w 736"/>
                <a:gd name="T51" fmla="*/ 973 h 983"/>
                <a:gd name="T52" fmla="*/ 295 w 736"/>
                <a:gd name="T53" fmla="*/ 981 h 983"/>
                <a:gd name="T54" fmla="*/ 244 w 736"/>
                <a:gd name="T55" fmla="*/ 983 h 983"/>
                <a:gd name="T56" fmla="*/ 211 w 736"/>
                <a:gd name="T57" fmla="*/ 981 h 983"/>
                <a:gd name="T58" fmla="*/ 147 w 736"/>
                <a:gd name="T59" fmla="*/ 973 h 983"/>
                <a:gd name="T60" fmla="*/ 87 w 736"/>
                <a:gd name="T61" fmla="*/ 958 h 983"/>
                <a:gd name="T62" fmla="*/ 29 w 736"/>
                <a:gd name="T63" fmla="*/ 932 h 983"/>
                <a:gd name="T64" fmla="*/ 244 w 736"/>
                <a:gd name="T65" fmla="*/ 491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6" h="983">
                  <a:moveTo>
                    <a:pt x="244" y="491"/>
                  </a:moveTo>
                  <a:lnTo>
                    <a:pt x="244" y="0"/>
                  </a:lnTo>
                  <a:lnTo>
                    <a:pt x="244" y="0"/>
                  </a:lnTo>
                  <a:lnTo>
                    <a:pt x="270" y="0"/>
                  </a:lnTo>
                  <a:lnTo>
                    <a:pt x="295" y="1"/>
                  </a:lnTo>
                  <a:lnTo>
                    <a:pt x="320" y="5"/>
                  </a:lnTo>
                  <a:lnTo>
                    <a:pt x="343" y="9"/>
                  </a:lnTo>
                  <a:lnTo>
                    <a:pt x="369" y="15"/>
                  </a:lnTo>
                  <a:lnTo>
                    <a:pt x="392" y="21"/>
                  </a:lnTo>
                  <a:lnTo>
                    <a:pt x="413" y="29"/>
                  </a:lnTo>
                  <a:lnTo>
                    <a:pt x="437" y="38"/>
                  </a:lnTo>
                  <a:lnTo>
                    <a:pt x="458" y="48"/>
                  </a:lnTo>
                  <a:lnTo>
                    <a:pt x="479" y="58"/>
                  </a:lnTo>
                  <a:lnTo>
                    <a:pt x="520" y="83"/>
                  </a:lnTo>
                  <a:lnTo>
                    <a:pt x="557" y="110"/>
                  </a:lnTo>
                  <a:lnTo>
                    <a:pt x="592" y="143"/>
                  </a:lnTo>
                  <a:lnTo>
                    <a:pt x="625" y="178"/>
                  </a:lnTo>
                  <a:lnTo>
                    <a:pt x="652" y="215"/>
                  </a:lnTo>
                  <a:lnTo>
                    <a:pt x="678" y="256"/>
                  </a:lnTo>
                  <a:lnTo>
                    <a:pt x="687" y="277"/>
                  </a:lnTo>
                  <a:lnTo>
                    <a:pt x="699" y="299"/>
                  </a:lnTo>
                  <a:lnTo>
                    <a:pt x="707" y="322"/>
                  </a:lnTo>
                  <a:lnTo>
                    <a:pt x="714" y="345"/>
                  </a:lnTo>
                  <a:lnTo>
                    <a:pt x="720" y="369"/>
                  </a:lnTo>
                  <a:lnTo>
                    <a:pt x="726" y="392"/>
                  </a:lnTo>
                  <a:lnTo>
                    <a:pt x="732" y="415"/>
                  </a:lnTo>
                  <a:lnTo>
                    <a:pt x="734" y="441"/>
                  </a:lnTo>
                  <a:lnTo>
                    <a:pt x="736" y="466"/>
                  </a:lnTo>
                  <a:lnTo>
                    <a:pt x="736" y="491"/>
                  </a:lnTo>
                  <a:lnTo>
                    <a:pt x="736" y="491"/>
                  </a:lnTo>
                  <a:lnTo>
                    <a:pt x="736" y="516"/>
                  </a:lnTo>
                  <a:lnTo>
                    <a:pt x="734" y="542"/>
                  </a:lnTo>
                  <a:lnTo>
                    <a:pt x="732" y="565"/>
                  </a:lnTo>
                  <a:lnTo>
                    <a:pt x="726" y="590"/>
                  </a:lnTo>
                  <a:lnTo>
                    <a:pt x="720" y="614"/>
                  </a:lnTo>
                  <a:lnTo>
                    <a:pt x="714" y="637"/>
                  </a:lnTo>
                  <a:lnTo>
                    <a:pt x="707" y="660"/>
                  </a:lnTo>
                  <a:lnTo>
                    <a:pt x="699" y="682"/>
                  </a:lnTo>
                  <a:lnTo>
                    <a:pt x="687" y="703"/>
                  </a:lnTo>
                  <a:lnTo>
                    <a:pt x="678" y="724"/>
                  </a:lnTo>
                  <a:lnTo>
                    <a:pt x="652" y="765"/>
                  </a:lnTo>
                  <a:lnTo>
                    <a:pt x="625" y="804"/>
                  </a:lnTo>
                  <a:lnTo>
                    <a:pt x="592" y="839"/>
                  </a:lnTo>
                  <a:lnTo>
                    <a:pt x="557" y="870"/>
                  </a:lnTo>
                  <a:lnTo>
                    <a:pt x="520" y="899"/>
                  </a:lnTo>
                  <a:lnTo>
                    <a:pt x="479" y="923"/>
                  </a:lnTo>
                  <a:lnTo>
                    <a:pt x="458" y="934"/>
                  </a:lnTo>
                  <a:lnTo>
                    <a:pt x="437" y="944"/>
                  </a:lnTo>
                  <a:lnTo>
                    <a:pt x="413" y="952"/>
                  </a:lnTo>
                  <a:lnTo>
                    <a:pt x="392" y="960"/>
                  </a:lnTo>
                  <a:lnTo>
                    <a:pt x="369" y="967"/>
                  </a:lnTo>
                  <a:lnTo>
                    <a:pt x="343" y="973"/>
                  </a:lnTo>
                  <a:lnTo>
                    <a:pt x="320" y="977"/>
                  </a:lnTo>
                  <a:lnTo>
                    <a:pt x="295" y="981"/>
                  </a:lnTo>
                  <a:lnTo>
                    <a:pt x="270" y="983"/>
                  </a:lnTo>
                  <a:lnTo>
                    <a:pt x="244" y="983"/>
                  </a:lnTo>
                  <a:lnTo>
                    <a:pt x="244" y="983"/>
                  </a:lnTo>
                  <a:lnTo>
                    <a:pt x="211" y="981"/>
                  </a:lnTo>
                  <a:lnTo>
                    <a:pt x="180" y="979"/>
                  </a:lnTo>
                  <a:lnTo>
                    <a:pt x="147" y="973"/>
                  </a:lnTo>
                  <a:lnTo>
                    <a:pt x="118" y="967"/>
                  </a:lnTo>
                  <a:lnTo>
                    <a:pt x="87" y="958"/>
                  </a:lnTo>
                  <a:lnTo>
                    <a:pt x="58" y="946"/>
                  </a:lnTo>
                  <a:lnTo>
                    <a:pt x="29" y="932"/>
                  </a:lnTo>
                  <a:lnTo>
                    <a:pt x="0" y="917"/>
                  </a:lnTo>
                  <a:lnTo>
                    <a:pt x="244" y="491"/>
                  </a:lnTo>
                  <a:close/>
                </a:path>
              </a:pathLst>
            </a:custGeom>
            <a:solidFill>
              <a:srgbClr val="28AB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10F8FFFA-5DD9-43F5-E887-A4D8C9BB7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6" y="2300"/>
              <a:ext cx="152" cy="491"/>
            </a:xfrm>
            <a:custGeom>
              <a:avLst/>
              <a:gdLst>
                <a:gd name="T0" fmla="*/ 152 w 152"/>
                <a:gd name="T1" fmla="*/ 491 h 491"/>
                <a:gd name="T2" fmla="*/ 0 w 152"/>
                <a:gd name="T3" fmla="*/ 23 h 491"/>
                <a:gd name="T4" fmla="*/ 0 w 152"/>
                <a:gd name="T5" fmla="*/ 23 h 491"/>
                <a:gd name="T6" fmla="*/ 37 w 152"/>
                <a:gd name="T7" fmla="*/ 13 h 491"/>
                <a:gd name="T8" fmla="*/ 74 w 152"/>
                <a:gd name="T9" fmla="*/ 5 h 491"/>
                <a:gd name="T10" fmla="*/ 113 w 152"/>
                <a:gd name="T11" fmla="*/ 0 h 491"/>
                <a:gd name="T12" fmla="*/ 152 w 152"/>
                <a:gd name="T13" fmla="*/ 0 h 491"/>
                <a:gd name="T14" fmla="*/ 152 w 152"/>
                <a:gd name="T1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2" h="491">
                  <a:moveTo>
                    <a:pt x="152" y="491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37" y="13"/>
                  </a:lnTo>
                  <a:lnTo>
                    <a:pt x="74" y="5"/>
                  </a:lnTo>
                  <a:lnTo>
                    <a:pt x="113" y="0"/>
                  </a:lnTo>
                  <a:lnTo>
                    <a:pt x="152" y="0"/>
                  </a:lnTo>
                  <a:lnTo>
                    <a:pt x="152" y="491"/>
                  </a:lnTo>
                  <a:close/>
                </a:path>
              </a:pathLst>
            </a:custGeom>
            <a:solidFill>
              <a:srgbClr val="E21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F65B6A84-7B5D-CDC6-50D7-6AB0BE927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6" y="2323"/>
              <a:ext cx="643" cy="960"/>
            </a:xfrm>
            <a:custGeom>
              <a:avLst/>
              <a:gdLst>
                <a:gd name="T0" fmla="*/ 492 w 643"/>
                <a:gd name="T1" fmla="*/ 468 h 960"/>
                <a:gd name="T2" fmla="*/ 643 w 643"/>
                <a:gd name="T3" fmla="*/ 935 h 960"/>
                <a:gd name="T4" fmla="*/ 643 w 643"/>
                <a:gd name="T5" fmla="*/ 935 h 960"/>
                <a:gd name="T6" fmla="*/ 620 w 643"/>
                <a:gd name="T7" fmla="*/ 942 h 960"/>
                <a:gd name="T8" fmla="*/ 595 w 643"/>
                <a:gd name="T9" fmla="*/ 948 h 960"/>
                <a:gd name="T10" fmla="*/ 571 w 643"/>
                <a:gd name="T11" fmla="*/ 954 h 960"/>
                <a:gd name="T12" fmla="*/ 546 w 643"/>
                <a:gd name="T13" fmla="*/ 956 h 960"/>
                <a:gd name="T14" fmla="*/ 523 w 643"/>
                <a:gd name="T15" fmla="*/ 958 h 960"/>
                <a:gd name="T16" fmla="*/ 497 w 643"/>
                <a:gd name="T17" fmla="*/ 960 h 960"/>
                <a:gd name="T18" fmla="*/ 474 w 643"/>
                <a:gd name="T19" fmla="*/ 960 h 960"/>
                <a:gd name="T20" fmla="*/ 449 w 643"/>
                <a:gd name="T21" fmla="*/ 958 h 960"/>
                <a:gd name="T22" fmla="*/ 426 w 643"/>
                <a:gd name="T23" fmla="*/ 956 h 960"/>
                <a:gd name="T24" fmla="*/ 402 w 643"/>
                <a:gd name="T25" fmla="*/ 952 h 960"/>
                <a:gd name="T26" fmla="*/ 356 w 643"/>
                <a:gd name="T27" fmla="*/ 940 h 960"/>
                <a:gd name="T28" fmla="*/ 311 w 643"/>
                <a:gd name="T29" fmla="*/ 925 h 960"/>
                <a:gd name="T30" fmla="*/ 268 w 643"/>
                <a:gd name="T31" fmla="*/ 905 h 960"/>
                <a:gd name="T32" fmla="*/ 227 w 643"/>
                <a:gd name="T33" fmla="*/ 882 h 960"/>
                <a:gd name="T34" fmla="*/ 189 w 643"/>
                <a:gd name="T35" fmla="*/ 855 h 960"/>
                <a:gd name="T36" fmla="*/ 154 w 643"/>
                <a:gd name="T37" fmla="*/ 824 h 960"/>
                <a:gd name="T38" fmla="*/ 136 w 643"/>
                <a:gd name="T39" fmla="*/ 808 h 960"/>
                <a:gd name="T40" fmla="*/ 121 w 643"/>
                <a:gd name="T41" fmla="*/ 791 h 960"/>
                <a:gd name="T42" fmla="*/ 105 w 643"/>
                <a:gd name="T43" fmla="*/ 771 h 960"/>
                <a:gd name="T44" fmla="*/ 90 w 643"/>
                <a:gd name="T45" fmla="*/ 752 h 960"/>
                <a:gd name="T46" fmla="*/ 76 w 643"/>
                <a:gd name="T47" fmla="*/ 732 h 960"/>
                <a:gd name="T48" fmla="*/ 64 w 643"/>
                <a:gd name="T49" fmla="*/ 711 h 960"/>
                <a:gd name="T50" fmla="*/ 53 w 643"/>
                <a:gd name="T51" fmla="*/ 690 h 960"/>
                <a:gd name="T52" fmla="*/ 43 w 643"/>
                <a:gd name="T53" fmla="*/ 666 h 960"/>
                <a:gd name="T54" fmla="*/ 33 w 643"/>
                <a:gd name="T55" fmla="*/ 643 h 960"/>
                <a:gd name="T56" fmla="*/ 23 w 643"/>
                <a:gd name="T57" fmla="*/ 620 h 960"/>
                <a:gd name="T58" fmla="*/ 23 w 643"/>
                <a:gd name="T59" fmla="*/ 620 h 960"/>
                <a:gd name="T60" fmla="*/ 18 w 643"/>
                <a:gd name="T61" fmla="*/ 594 h 960"/>
                <a:gd name="T62" fmla="*/ 12 w 643"/>
                <a:gd name="T63" fmla="*/ 571 h 960"/>
                <a:gd name="T64" fmla="*/ 6 w 643"/>
                <a:gd name="T65" fmla="*/ 546 h 960"/>
                <a:gd name="T66" fmla="*/ 4 w 643"/>
                <a:gd name="T67" fmla="*/ 523 h 960"/>
                <a:gd name="T68" fmla="*/ 0 w 643"/>
                <a:gd name="T69" fmla="*/ 497 h 960"/>
                <a:gd name="T70" fmla="*/ 0 w 643"/>
                <a:gd name="T71" fmla="*/ 474 h 960"/>
                <a:gd name="T72" fmla="*/ 0 w 643"/>
                <a:gd name="T73" fmla="*/ 449 h 960"/>
                <a:gd name="T74" fmla="*/ 2 w 643"/>
                <a:gd name="T75" fmla="*/ 425 h 960"/>
                <a:gd name="T76" fmla="*/ 4 w 643"/>
                <a:gd name="T77" fmla="*/ 402 h 960"/>
                <a:gd name="T78" fmla="*/ 8 w 643"/>
                <a:gd name="T79" fmla="*/ 379 h 960"/>
                <a:gd name="T80" fmla="*/ 20 w 643"/>
                <a:gd name="T81" fmla="*/ 332 h 960"/>
                <a:gd name="T82" fmla="*/ 35 w 643"/>
                <a:gd name="T83" fmla="*/ 287 h 960"/>
                <a:gd name="T84" fmla="*/ 55 w 643"/>
                <a:gd name="T85" fmla="*/ 245 h 960"/>
                <a:gd name="T86" fmla="*/ 78 w 643"/>
                <a:gd name="T87" fmla="*/ 204 h 960"/>
                <a:gd name="T88" fmla="*/ 105 w 643"/>
                <a:gd name="T89" fmla="*/ 165 h 960"/>
                <a:gd name="T90" fmla="*/ 136 w 643"/>
                <a:gd name="T91" fmla="*/ 128 h 960"/>
                <a:gd name="T92" fmla="*/ 152 w 643"/>
                <a:gd name="T93" fmla="*/ 113 h 960"/>
                <a:gd name="T94" fmla="*/ 169 w 643"/>
                <a:gd name="T95" fmla="*/ 95 h 960"/>
                <a:gd name="T96" fmla="*/ 189 w 643"/>
                <a:gd name="T97" fmla="*/ 81 h 960"/>
                <a:gd name="T98" fmla="*/ 208 w 643"/>
                <a:gd name="T99" fmla="*/ 66 h 960"/>
                <a:gd name="T100" fmla="*/ 227 w 643"/>
                <a:gd name="T101" fmla="*/ 52 h 960"/>
                <a:gd name="T102" fmla="*/ 249 w 643"/>
                <a:gd name="T103" fmla="*/ 41 h 960"/>
                <a:gd name="T104" fmla="*/ 270 w 643"/>
                <a:gd name="T105" fmla="*/ 29 h 960"/>
                <a:gd name="T106" fmla="*/ 293 w 643"/>
                <a:gd name="T107" fmla="*/ 17 h 960"/>
                <a:gd name="T108" fmla="*/ 317 w 643"/>
                <a:gd name="T109" fmla="*/ 8 h 960"/>
                <a:gd name="T110" fmla="*/ 340 w 643"/>
                <a:gd name="T111" fmla="*/ 0 h 960"/>
                <a:gd name="T112" fmla="*/ 340 w 643"/>
                <a:gd name="T113" fmla="*/ 0 h 960"/>
                <a:gd name="T114" fmla="*/ 492 w 643"/>
                <a:gd name="T115" fmla="*/ 4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43" h="960">
                  <a:moveTo>
                    <a:pt x="492" y="468"/>
                  </a:moveTo>
                  <a:lnTo>
                    <a:pt x="643" y="935"/>
                  </a:lnTo>
                  <a:lnTo>
                    <a:pt x="643" y="935"/>
                  </a:lnTo>
                  <a:lnTo>
                    <a:pt x="620" y="942"/>
                  </a:lnTo>
                  <a:lnTo>
                    <a:pt x="595" y="948"/>
                  </a:lnTo>
                  <a:lnTo>
                    <a:pt x="571" y="954"/>
                  </a:lnTo>
                  <a:lnTo>
                    <a:pt x="546" y="956"/>
                  </a:lnTo>
                  <a:lnTo>
                    <a:pt x="523" y="958"/>
                  </a:lnTo>
                  <a:lnTo>
                    <a:pt x="497" y="960"/>
                  </a:lnTo>
                  <a:lnTo>
                    <a:pt x="474" y="960"/>
                  </a:lnTo>
                  <a:lnTo>
                    <a:pt x="449" y="958"/>
                  </a:lnTo>
                  <a:lnTo>
                    <a:pt x="426" y="956"/>
                  </a:lnTo>
                  <a:lnTo>
                    <a:pt x="402" y="952"/>
                  </a:lnTo>
                  <a:lnTo>
                    <a:pt x="356" y="940"/>
                  </a:lnTo>
                  <a:lnTo>
                    <a:pt x="311" y="925"/>
                  </a:lnTo>
                  <a:lnTo>
                    <a:pt x="268" y="905"/>
                  </a:lnTo>
                  <a:lnTo>
                    <a:pt x="227" y="882"/>
                  </a:lnTo>
                  <a:lnTo>
                    <a:pt x="189" y="855"/>
                  </a:lnTo>
                  <a:lnTo>
                    <a:pt x="154" y="824"/>
                  </a:lnTo>
                  <a:lnTo>
                    <a:pt x="136" y="808"/>
                  </a:lnTo>
                  <a:lnTo>
                    <a:pt x="121" y="791"/>
                  </a:lnTo>
                  <a:lnTo>
                    <a:pt x="105" y="771"/>
                  </a:lnTo>
                  <a:lnTo>
                    <a:pt x="90" y="752"/>
                  </a:lnTo>
                  <a:lnTo>
                    <a:pt x="76" y="732"/>
                  </a:lnTo>
                  <a:lnTo>
                    <a:pt x="64" y="711"/>
                  </a:lnTo>
                  <a:lnTo>
                    <a:pt x="53" y="690"/>
                  </a:lnTo>
                  <a:lnTo>
                    <a:pt x="43" y="666"/>
                  </a:lnTo>
                  <a:lnTo>
                    <a:pt x="33" y="643"/>
                  </a:lnTo>
                  <a:lnTo>
                    <a:pt x="23" y="620"/>
                  </a:lnTo>
                  <a:lnTo>
                    <a:pt x="23" y="620"/>
                  </a:lnTo>
                  <a:lnTo>
                    <a:pt x="18" y="594"/>
                  </a:lnTo>
                  <a:lnTo>
                    <a:pt x="12" y="571"/>
                  </a:lnTo>
                  <a:lnTo>
                    <a:pt x="6" y="546"/>
                  </a:lnTo>
                  <a:lnTo>
                    <a:pt x="4" y="523"/>
                  </a:lnTo>
                  <a:lnTo>
                    <a:pt x="0" y="497"/>
                  </a:lnTo>
                  <a:lnTo>
                    <a:pt x="0" y="474"/>
                  </a:lnTo>
                  <a:lnTo>
                    <a:pt x="0" y="449"/>
                  </a:lnTo>
                  <a:lnTo>
                    <a:pt x="2" y="425"/>
                  </a:lnTo>
                  <a:lnTo>
                    <a:pt x="4" y="402"/>
                  </a:lnTo>
                  <a:lnTo>
                    <a:pt x="8" y="379"/>
                  </a:lnTo>
                  <a:lnTo>
                    <a:pt x="20" y="332"/>
                  </a:lnTo>
                  <a:lnTo>
                    <a:pt x="35" y="287"/>
                  </a:lnTo>
                  <a:lnTo>
                    <a:pt x="55" y="245"/>
                  </a:lnTo>
                  <a:lnTo>
                    <a:pt x="78" y="204"/>
                  </a:lnTo>
                  <a:lnTo>
                    <a:pt x="105" y="165"/>
                  </a:lnTo>
                  <a:lnTo>
                    <a:pt x="136" y="128"/>
                  </a:lnTo>
                  <a:lnTo>
                    <a:pt x="152" y="113"/>
                  </a:lnTo>
                  <a:lnTo>
                    <a:pt x="169" y="95"/>
                  </a:lnTo>
                  <a:lnTo>
                    <a:pt x="189" y="81"/>
                  </a:lnTo>
                  <a:lnTo>
                    <a:pt x="208" y="66"/>
                  </a:lnTo>
                  <a:lnTo>
                    <a:pt x="227" y="52"/>
                  </a:lnTo>
                  <a:lnTo>
                    <a:pt x="249" y="41"/>
                  </a:lnTo>
                  <a:lnTo>
                    <a:pt x="270" y="29"/>
                  </a:lnTo>
                  <a:lnTo>
                    <a:pt x="293" y="17"/>
                  </a:lnTo>
                  <a:lnTo>
                    <a:pt x="317" y="8"/>
                  </a:lnTo>
                  <a:lnTo>
                    <a:pt x="340" y="0"/>
                  </a:lnTo>
                  <a:lnTo>
                    <a:pt x="340" y="0"/>
                  </a:lnTo>
                  <a:lnTo>
                    <a:pt x="492" y="468"/>
                  </a:lnTo>
                  <a:close/>
                </a:path>
              </a:pathLst>
            </a:custGeom>
            <a:solidFill>
              <a:srgbClr val="BF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EC4A50E8-F47C-5944-867E-91C7912CC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" y="2300"/>
              <a:ext cx="491" cy="958"/>
            </a:xfrm>
            <a:custGeom>
              <a:avLst/>
              <a:gdLst>
                <a:gd name="T0" fmla="*/ 0 w 491"/>
                <a:gd name="T1" fmla="*/ 491 h 958"/>
                <a:gd name="T2" fmla="*/ 0 w 491"/>
                <a:gd name="T3" fmla="*/ 0 h 958"/>
                <a:gd name="T4" fmla="*/ 0 w 491"/>
                <a:gd name="T5" fmla="*/ 0 h 958"/>
                <a:gd name="T6" fmla="*/ 25 w 491"/>
                <a:gd name="T7" fmla="*/ 0 h 958"/>
                <a:gd name="T8" fmla="*/ 50 w 491"/>
                <a:gd name="T9" fmla="*/ 1 h 958"/>
                <a:gd name="T10" fmla="*/ 75 w 491"/>
                <a:gd name="T11" fmla="*/ 5 h 958"/>
                <a:gd name="T12" fmla="*/ 99 w 491"/>
                <a:gd name="T13" fmla="*/ 9 h 958"/>
                <a:gd name="T14" fmla="*/ 122 w 491"/>
                <a:gd name="T15" fmla="*/ 15 h 958"/>
                <a:gd name="T16" fmla="*/ 145 w 491"/>
                <a:gd name="T17" fmla="*/ 21 h 958"/>
                <a:gd name="T18" fmla="*/ 169 w 491"/>
                <a:gd name="T19" fmla="*/ 29 h 958"/>
                <a:gd name="T20" fmla="*/ 192 w 491"/>
                <a:gd name="T21" fmla="*/ 38 h 958"/>
                <a:gd name="T22" fmla="*/ 213 w 491"/>
                <a:gd name="T23" fmla="*/ 48 h 958"/>
                <a:gd name="T24" fmla="*/ 235 w 491"/>
                <a:gd name="T25" fmla="*/ 58 h 958"/>
                <a:gd name="T26" fmla="*/ 276 w 491"/>
                <a:gd name="T27" fmla="*/ 83 h 958"/>
                <a:gd name="T28" fmla="*/ 312 w 491"/>
                <a:gd name="T29" fmla="*/ 110 h 958"/>
                <a:gd name="T30" fmla="*/ 347 w 491"/>
                <a:gd name="T31" fmla="*/ 143 h 958"/>
                <a:gd name="T32" fmla="*/ 378 w 491"/>
                <a:gd name="T33" fmla="*/ 178 h 958"/>
                <a:gd name="T34" fmla="*/ 408 w 491"/>
                <a:gd name="T35" fmla="*/ 215 h 958"/>
                <a:gd name="T36" fmla="*/ 433 w 491"/>
                <a:gd name="T37" fmla="*/ 256 h 958"/>
                <a:gd name="T38" fmla="*/ 443 w 491"/>
                <a:gd name="T39" fmla="*/ 277 h 958"/>
                <a:gd name="T40" fmla="*/ 452 w 491"/>
                <a:gd name="T41" fmla="*/ 299 h 958"/>
                <a:gd name="T42" fmla="*/ 462 w 491"/>
                <a:gd name="T43" fmla="*/ 322 h 958"/>
                <a:gd name="T44" fmla="*/ 470 w 491"/>
                <a:gd name="T45" fmla="*/ 345 h 958"/>
                <a:gd name="T46" fmla="*/ 476 w 491"/>
                <a:gd name="T47" fmla="*/ 369 h 958"/>
                <a:gd name="T48" fmla="*/ 481 w 491"/>
                <a:gd name="T49" fmla="*/ 392 h 958"/>
                <a:gd name="T50" fmla="*/ 485 w 491"/>
                <a:gd name="T51" fmla="*/ 415 h 958"/>
                <a:gd name="T52" fmla="*/ 489 w 491"/>
                <a:gd name="T53" fmla="*/ 441 h 958"/>
                <a:gd name="T54" fmla="*/ 491 w 491"/>
                <a:gd name="T55" fmla="*/ 466 h 958"/>
                <a:gd name="T56" fmla="*/ 491 w 491"/>
                <a:gd name="T57" fmla="*/ 491 h 958"/>
                <a:gd name="T58" fmla="*/ 491 w 491"/>
                <a:gd name="T59" fmla="*/ 491 h 958"/>
                <a:gd name="T60" fmla="*/ 489 w 491"/>
                <a:gd name="T61" fmla="*/ 532 h 958"/>
                <a:gd name="T62" fmla="*/ 485 w 491"/>
                <a:gd name="T63" fmla="*/ 571 h 958"/>
                <a:gd name="T64" fmla="*/ 478 w 491"/>
                <a:gd name="T65" fmla="*/ 610 h 958"/>
                <a:gd name="T66" fmla="*/ 468 w 491"/>
                <a:gd name="T67" fmla="*/ 647 h 958"/>
                <a:gd name="T68" fmla="*/ 454 w 491"/>
                <a:gd name="T69" fmla="*/ 682 h 958"/>
                <a:gd name="T70" fmla="*/ 439 w 491"/>
                <a:gd name="T71" fmla="*/ 717 h 958"/>
                <a:gd name="T72" fmla="*/ 419 w 491"/>
                <a:gd name="T73" fmla="*/ 750 h 958"/>
                <a:gd name="T74" fmla="*/ 400 w 491"/>
                <a:gd name="T75" fmla="*/ 781 h 958"/>
                <a:gd name="T76" fmla="*/ 377 w 491"/>
                <a:gd name="T77" fmla="*/ 810 h 958"/>
                <a:gd name="T78" fmla="*/ 349 w 491"/>
                <a:gd name="T79" fmla="*/ 839 h 958"/>
                <a:gd name="T80" fmla="*/ 322 w 491"/>
                <a:gd name="T81" fmla="*/ 864 h 958"/>
                <a:gd name="T82" fmla="*/ 291 w 491"/>
                <a:gd name="T83" fmla="*/ 888 h 958"/>
                <a:gd name="T84" fmla="*/ 260 w 491"/>
                <a:gd name="T85" fmla="*/ 909 h 958"/>
                <a:gd name="T86" fmla="*/ 225 w 491"/>
                <a:gd name="T87" fmla="*/ 928 h 958"/>
                <a:gd name="T88" fmla="*/ 190 w 491"/>
                <a:gd name="T89" fmla="*/ 944 h 958"/>
                <a:gd name="T90" fmla="*/ 151 w 491"/>
                <a:gd name="T91" fmla="*/ 958 h 958"/>
                <a:gd name="T92" fmla="*/ 0 w 491"/>
                <a:gd name="T93" fmla="*/ 491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91" h="958">
                  <a:moveTo>
                    <a:pt x="0" y="49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5" y="0"/>
                  </a:lnTo>
                  <a:lnTo>
                    <a:pt x="50" y="1"/>
                  </a:lnTo>
                  <a:lnTo>
                    <a:pt x="75" y="5"/>
                  </a:lnTo>
                  <a:lnTo>
                    <a:pt x="99" y="9"/>
                  </a:lnTo>
                  <a:lnTo>
                    <a:pt x="122" y="15"/>
                  </a:lnTo>
                  <a:lnTo>
                    <a:pt x="145" y="21"/>
                  </a:lnTo>
                  <a:lnTo>
                    <a:pt x="169" y="29"/>
                  </a:lnTo>
                  <a:lnTo>
                    <a:pt x="192" y="38"/>
                  </a:lnTo>
                  <a:lnTo>
                    <a:pt x="213" y="48"/>
                  </a:lnTo>
                  <a:lnTo>
                    <a:pt x="235" y="58"/>
                  </a:lnTo>
                  <a:lnTo>
                    <a:pt x="276" y="83"/>
                  </a:lnTo>
                  <a:lnTo>
                    <a:pt x="312" y="110"/>
                  </a:lnTo>
                  <a:lnTo>
                    <a:pt x="347" y="143"/>
                  </a:lnTo>
                  <a:lnTo>
                    <a:pt x="378" y="178"/>
                  </a:lnTo>
                  <a:lnTo>
                    <a:pt x="408" y="215"/>
                  </a:lnTo>
                  <a:lnTo>
                    <a:pt x="433" y="256"/>
                  </a:lnTo>
                  <a:lnTo>
                    <a:pt x="443" y="277"/>
                  </a:lnTo>
                  <a:lnTo>
                    <a:pt x="452" y="299"/>
                  </a:lnTo>
                  <a:lnTo>
                    <a:pt x="462" y="322"/>
                  </a:lnTo>
                  <a:lnTo>
                    <a:pt x="470" y="345"/>
                  </a:lnTo>
                  <a:lnTo>
                    <a:pt x="476" y="369"/>
                  </a:lnTo>
                  <a:lnTo>
                    <a:pt x="481" y="392"/>
                  </a:lnTo>
                  <a:lnTo>
                    <a:pt x="485" y="415"/>
                  </a:lnTo>
                  <a:lnTo>
                    <a:pt x="489" y="441"/>
                  </a:lnTo>
                  <a:lnTo>
                    <a:pt x="491" y="466"/>
                  </a:lnTo>
                  <a:lnTo>
                    <a:pt x="491" y="491"/>
                  </a:lnTo>
                  <a:lnTo>
                    <a:pt x="491" y="491"/>
                  </a:lnTo>
                  <a:lnTo>
                    <a:pt x="489" y="532"/>
                  </a:lnTo>
                  <a:lnTo>
                    <a:pt x="485" y="571"/>
                  </a:lnTo>
                  <a:lnTo>
                    <a:pt x="478" y="610"/>
                  </a:lnTo>
                  <a:lnTo>
                    <a:pt x="468" y="647"/>
                  </a:lnTo>
                  <a:lnTo>
                    <a:pt x="454" y="682"/>
                  </a:lnTo>
                  <a:lnTo>
                    <a:pt x="439" y="717"/>
                  </a:lnTo>
                  <a:lnTo>
                    <a:pt x="419" y="750"/>
                  </a:lnTo>
                  <a:lnTo>
                    <a:pt x="400" y="781"/>
                  </a:lnTo>
                  <a:lnTo>
                    <a:pt x="377" y="810"/>
                  </a:lnTo>
                  <a:lnTo>
                    <a:pt x="349" y="839"/>
                  </a:lnTo>
                  <a:lnTo>
                    <a:pt x="322" y="864"/>
                  </a:lnTo>
                  <a:lnTo>
                    <a:pt x="291" y="888"/>
                  </a:lnTo>
                  <a:lnTo>
                    <a:pt x="260" y="909"/>
                  </a:lnTo>
                  <a:lnTo>
                    <a:pt x="225" y="928"/>
                  </a:lnTo>
                  <a:lnTo>
                    <a:pt x="190" y="944"/>
                  </a:lnTo>
                  <a:lnTo>
                    <a:pt x="151" y="958"/>
                  </a:lnTo>
                  <a:lnTo>
                    <a:pt x="0" y="491"/>
                  </a:lnTo>
                  <a:close/>
                </a:path>
              </a:pathLst>
            </a:custGeom>
            <a:solidFill>
              <a:srgbClr val="28AB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11">
              <a:extLst>
                <a:ext uri="{FF2B5EF4-FFF2-40B4-BE49-F238E27FC236}">
                  <a16:creationId xmlns:a16="http://schemas.microsoft.com/office/drawing/2014/main" id="{64C5EBB3-FB93-49B2-46B4-A0634FA193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" y="1897"/>
              <a:ext cx="1521" cy="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kumimoji="0" lang="en-US" altLang="en-US" sz="14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RNA-4157 (V940) + pembro (n = 107)</a:t>
              </a:r>
              <a:endPara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Rectangle 12">
              <a:extLst>
                <a:ext uri="{FF2B5EF4-FFF2-40B4-BE49-F238E27FC236}">
                  <a16:creationId xmlns:a16="http://schemas.microsoft.com/office/drawing/2014/main" id="{520F7685-3709-B72E-B53B-0F9BD85E65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" y="2028"/>
              <a:ext cx="0" cy="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1" name="Rectangle 13">
              <a:extLst>
                <a:ext uri="{FF2B5EF4-FFF2-40B4-BE49-F238E27FC236}">
                  <a16:creationId xmlns:a16="http://schemas.microsoft.com/office/drawing/2014/main" id="{C7E52391-F2A7-3F6C-6365-FDB748AC2A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897"/>
              <a:ext cx="409" cy="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kumimoji="0" lang="en-US" altLang="en-US" sz="14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pembro</a:t>
              </a:r>
              <a:br>
                <a:rPr kumimoji="0" lang="en-US" altLang="en-US" sz="14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</a:br>
              <a:r>
                <a:rPr kumimoji="0" lang="en-US" altLang="en-US" sz="14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(n = 50)</a:t>
              </a:r>
              <a:endPara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3" name="Rectangle 15">
              <a:extLst>
                <a:ext uri="{FF2B5EF4-FFF2-40B4-BE49-F238E27FC236}">
                  <a16:creationId xmlns:a16="http://schemas.microsoft.com/office/drawing/2014/main" id="{13162173-2294-AC3D-0FD7-B9259A3166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6" y="3488"/>
              <a:ext cx="102" cy="101"/>
            </a:xfrm>
            <a:prstGeom prst="rect">
              <a:avLst/>
            </a:prstGeom>
            <a:solidFill>
              <a:srgbClr val="E21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84" name="Rectangle 16">
              <a:extLst>
                <a:ext uri="{FF2B5EF4-FFF2-40B4-BE49-F238E27FC236}">
                  <a16:creationId xmlns:a16="http://schemas.microsoft.com/office/drawing/2014/main" id="{5728B795-B18A-0CD1-5C9F-B5A0AA4373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" y="3488"/>
              <a:ext cx="101" cy="101"/>
            </a:xfrm>
            <a:prstGeom prst="rect">
              <a:avLst/>
            </a:prstGeom>
            <a:solidFill>
              <a:srgbClr val="28AB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85" name="Rectangle 17">
              <a:extLst>
                <a:ext uri="{FF2B5EF4-FFF2-40B4-BE49-F238E27FC236}">
                  <a16:creationId xmlns:a16="http://schemas.microsoft.com/office/drawing/2014/main" id="{45CC401E-4FA9-556A-9291-DD45B957F3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" y="3423"/>
              <a:ext cx="592" cy="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+mn-lt"/>
                </a:rPr>
                <a:t>Local/regional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recurrence</a:t>
              </a:r>
            </a:p>
          </p:txBody>
        </p:sp>
        <p:sp>
          <p:nvSpPr>
            <p:cNvPr id="87" name="Rectangle 19">
              <a:extLst>
                <a:ext uri="{FF2B5EF4-FFF2-40B4-BE49-F238E27FC236}">
                  <a16:creationId xmlns:a16="http://schemas.microsoft.com/office/drawing/2014/main" id="{5896EDFB-498A-3BAE-1DEF-717703D8A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9" y="3488"/>
              <a:ext cx="99" cy="101"/>
            </a:xfrm>
            <a:prstGeom prst="rect">
              <a:avLst/>
            </a:prstGeom>
            <a:solidFill>
              <a:srgbClr val="BF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88" name="Rectangle 20">
              <a:extLst>
                <a:ext uri="{FF2B5EF4-FFF2-40B4-BE49-F238E27FC236}">
                  <a16:creationId xmlns:a16="http://schemas.microsoft.com/office/drawing/2014/main" id="{61F97EC3-1EA3-175F-3A11-BB019371BE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3" y="3480"/>
              <a:ext cx="780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+mn-lt"/>
                </a:rPr>
                <a:t>Distant recurrence</a:t>
              </a:r>
              <a:endPara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89" name="Rectangle 21">
              <a:extLst>
                <a:ext uri="{FF2B5EF4-FFF2-40B4-BE49-F238E27FC236}">
                  <a16:creationId xmlns:a16="http://schemas.microsoft.com/office/drawing/2014/main" id="{8D71AC14-F4B9-E4ED-3F8B-74BEBA6C4E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3480"/>
              <a:ext cx="239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+mn-lt"/>
                </a:rPr>
                <a:t>Other</a:t>
              </a:r>
              <a:endPara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90" name="Rectangle 22">
              <a:extLst>
                <a:ext uri="{FF2B5EF4-FFF2-40B4-BE49-F238E27FC236}">
                  <a16:creationId xmlns:a16="http://schemas.microsoft.com/office/drawing/2014/main" id="{7CAAF32A-1130-3E4D-07D3-1385D0BE86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3" y="3486"/>
              <a:ext cx="56" cy="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1" name="Rectangle 23">
              <a:extLst>
                <a:ext uri="{FF2B5EF4-FFF2-40B4-BE49-F238E27FC236}">
                  <a16:creationId xmlns:a16="http://schemas.microsoft.com/office/drawing/2014/main" id="{CFE27939-0822-E4F9-4A37-0B2C12C354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0" y="2745"/>
              <a:ext cx="106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14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2" name="Rectangle 24">
              <a:extLst>
                <a:ext uri="{FF2B5EF4-FFF2-40B4-BE49-F238E27FC236}">
                  <a16:creationId xmlns:a16="http://schemas.microsoft.com/office/drawing/2014/main" id="{832DAA13-A661-2B2E-D522-3F092B7DEB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0" y="2858"/>
              <a:ext cx="334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(13.1%)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3" name="Rectangle 25">
              <a:extLst>
                <a:ext uri="{FF2B5EF4-FFF2-40B4-BE49-F238E27FC236}">
                  <a16:creationId xmlns:a16="http://schemas.microsoft.com/office/drawing/2014/main" id="{18B0163F-1FC5-45B7-CCCC-29A5EAB1DE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" y="2698"/>
              <a:ext cx="53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1E2846"/>
                  </a:solidFill>
                  <a:effectLst/>
                  <a:latin typeface="Arial" panose="020B0604020202020204" pitchFamily="34" charset="0"/>
                </a:rPr>
                <a:t>7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4" name="Rectangle 26">
              <a:extLst>
                <a:ext uri="{FF2B5EF4-FFF2-40B4-BE49-F238E27FC236}">
                  <a16:creationId xmlns:a16="http://schemas.microsoft.com/office/drawing/2014/main" id="{A2CFDFA6-1028-0FC8-D045-501FFF4402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" y="2811"/>
              <a:ext cx="28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1E2846"/>
                  </a:solidFill>
                  <a:effectLst/>
                  <a:latin typeface="Arial" panose="020B0604020202020204" pitchFamily="34" charset="0"/>
                </a:rPr>
                <a:t>(6.5%)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5" name="Rectangle 27">
              <a:extLst>
                <a:ext uri="{FF2B5EF4-FFF2-40B4-BE49-F238E27FC236}">
                  <a16:creationId xmlns:a16="http://schemas.microsoft.com/office/drawing/2014/main" id="{E974F687-486D-4224-EA00-1CA9A270E3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" y="2228"/>
              <a:ext cx="53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002557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rgbClr val="002557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6" name="Rectangle 28">
              <a:extLst>
                <a:ext uri="{FF2B5EF4-FFF2-40B4-BE49-F238E27FC236}">
                  <a16:creationId xmlns:a16="http://schemas.microsoft.com/office/drawing/2014/main" id="{055D6965-9ABE-A28F-90A0-7ABD2962C3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" y="2329"/>
              <a:ext cx="28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002557"/>
                  </a:solidFill>
                  <a:effectLst/>
                  <a:latin typeface="Arial" panose="020B0604020202020204" pitchFamily="34" charset="0"/>
                </a:rPr>
                <a:t>(2.8%)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rgbClr val="002557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7" name="Rectangle 29">
              <a:extLst>
                <a:ext uri="{FF2B5EF4-FFF2-40B4-BE49-F238E27FC236}">
                  <a16:creationId xmlns:a16="http://schemas.microsoft.com/office/drawing/2014/main" id="{08984909-9964-92B0-99FD-2C10E945AB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7" y="2634"/>
              <a:ext cx="53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9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8" name="Rectangle 30">
              <a:extLst>
                <a:ext uri="{FF2B5EF4-FFF2-40B4-BE49-F238E27FC236}">
                  <a16:creationId xmlns:a16="http://schemas.microsoft.com/office/drawing/2014/main" id="{2D9BC025-9BD7-AA64-882D-1F35DAEFF1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747"/>
              <a:ext cx="254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(18%)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Rectangle 31">
              <a:extLst>
                <a:ext uri="{FF2B5EF4-FFF2-40B4-BE49-F238E27FC236}">
                  <a16:creationId xmlns:a16="http://schemas.microsoft.com/office/drawing/2014/main" id="{47F364D8-0977-DEF6-D1CE-E5F89D1C9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0" y="2714"/>
              <a:ext cx="106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1E2846"/>
                  </a:solidFill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0" name="Rectangle 32">
              <a:extLst>
                <a:ext uri="{FF2B5EF4-FFF2-40B4-BE49-F238E27FC236}">
                  <a16:creationId xmlns:a16="http://schemas.microsoft.com/office/drawing/2014/main" id="{6C9741AC-D4E8-765A-B376-BBD2556D04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6" y="2827"/>
              <a:ext cx="254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1E2846"/>
                  </a:solidFill>
                  <a:effectLst/>
                  <a:latin typeface="Arial" panose="020B0604020202020204" pitchFamily="34" charset="0"/>
                </a:rPr>
                <a:t>(20%)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1" name="Rectangle 33">
              <a:extLst>
                <a:ext uri="{FF2B5EF4-FFF2-40B4-BE49-F238E27FC236}">
                  <a16:creationId xmlns:a16="http://schemas.microsoft.com/office/drawing/2014/main" id="{EA4152A1-ED3F-5F52-CA20-6D39D15FBD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8" y="2174"/>
              <a:ext cx="53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1E2846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2" name="Rectangle 34">
              <a:extLst>
                <a:ext uri="{FF2B5EF4-FFF2-40B4-BE49-F238E27FC236}">
                  <a16:creationId xmlns:a16="http://schemas.microsoft.com/office/drawing/2014/main" id="{660986AF-8ED0-347F-4E2C-F6DF0C46A4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7" y="2287"/>
              <a:ext cx="20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i="0" u="none" strike="noStrike" cap="none" normalizeH="0" baseline="0" dirty="0">
                  <a:ln>
                    <a:noFill/>
                  </a:ln>
                  <a:solidFill>
                    <a:srgbClr val="1E2846"/>
                  </a:solidFill>
                  <a:effectLst/>
                  <a:latin typeface="Arial" panose="020B0604020202020204" pitchFamily="34" charset="0"/>
                </a:rPr>
                <a:t>(2%)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" name="Line 35">
              <a:extLst>
                <a:ext uri="{FF2B5EF4-FFF2-40B4-BE49-F238E27FC236}">
                  <a16:creationId xmlns:a16="http://schemas.microsoft.com/office/drawing/2014/main" id="{1C124403-2E35-8E9F-AF35-E10A15771E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99" y="2249"/>
              <a:ext cx="227" cy="0"/>
            </a:xfrm>
            <a:prstGeom prst="line">
              <a:avLst/>
            </a:prstGeom>
            <a:noFill/>
            <a:ln w="12700">
              <a:solidFill>
                <a:srgbClr val="1E284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Line 36">
              <a:extLst>
                <a:ext uri="{FF2B5EF4-FFF2-40B4-BE49-F238E27FC236}">
                  <a16:creationId xmlns:a16="http://schemas.microsoft.com/office/drawing/2014/main" id="{2B7DDBCE-F6F0-310C-57E7-E2233A162D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1" y="2251"/>
              <a:ext cx="0" cy="53"/>
            </a:xfrm>
            <a:prstGeom prst="line">
              <a:avLst/>
            </a:prstGeom>
            <a:noFill/>
            <a:ln w="12700">
              <a:solidFill>
                <a:srgbClr val="1E284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Rectangle 37">
              <a:extLst>
                <a:ext uri="{FF2B5EF4-FFF2-40B4-BE49-F238E27FC236}">
                  <a16:creationId xmlns:a16="http://schemas.microsoft.com/office/drawing/2014/main" id="{99F9CA8E-901F-61CE-58C4-8D4239BCE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4" y="1599"/>
              <a:ext cx="1117" cy="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Type of RFS Event</a:t>
              </a:r>
              <a:endPara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5" name="Line 35">
            <a:extLst>
              <a:ext uri="{FF2B5EF4-FFF2-40B4-BE49-F238E27FC236}">
                <a16:creationId xmlns:a16="http://schemas.microsoft.com/office/drawing/2014/main" id="{9F61AF47-1FF9-65CC-C994-23EFFDF66BD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1166" y="3612005"/>
            <a:ext cx="365760" cy="0"/>
          </a:xfrm>
          <a:prstGeom prst="line">
            <a:avLst/>
          </a:prstGeom>
          <a:noFill/>
          <a:ln w="12700">
            <a:solidFill>
              <a:srgbClr val="1E284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A7BAFF-68D4-5578-0898-349265A26B9F}"/>
              </a:ext>
            </a:extLst>
          </p:cNvPr>
          <p:cNvCxnSpPr>
            <a:cxnSpLocks/>
          </p:cNvCxnSpPr>
          <p:nvPr/>
        </p:nvCxnSpPr>
        <p:spPr>
          <a:xfrm>
            <a:off x="1440168" y="3603721"/>
            <a:ext cx="0" cy="9144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74745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3D64C193-75EC-5364-19D9-324EF6D07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600" dirty="0"/>
              <a:t>Longitudinal Pattern of DMFS Events During and After Treatment Comple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1DCC9A-26E1-F0C6-70A4-DC2D3C431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96B4A-66F4-420A-A099-F174BF1A0A20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9E426A1-7CDB-5E81-CDAF-7E54B14D07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nan Khattak, MBBS, FRACP, Ph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CFB724-BA3E-04CF-46F1-86C817F7F8F6}"/>
              </a:ext>
            </a:extLst>
          </p:cNvPr>
          <p:cNvSpPr txBox="1"/>
          <p:nvPr/>
        </p:nvSpPr>
        <p:spPr>
          <a:xfrm>
            <a:off x="583199" y="6052924"/>
            <a:ext cx="11137313" cy="20005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700" dirty="0">
                <a:solidFill>
                  <a:srgbClr val="002557"/>
                </a:solidFill>
              </a:rPr>
              <a:t>Reasons for death were disease progression (n = 2), unrelated AE (n = 1, without distant recurrence,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om sepsis</a:t>
            </a:r>
            <a:r>
              <a:rPr lang="en-US" sz="700" dirty="0">
                <a:solidFill>
                  <a:srgbClr val="002557"/>
                </a:solidFill>
              </a:rPr>
              <a:t>), and unknown (n = 1) in the mRNA-4157 (V940) + pembrolizumab arm and disease progression (n = 3) in the pembrolizumab monotherapy arm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CF43B03-E3BC-44E2-2F0E-9B45981D5731}"/>
              </a:ext>
            </a:extLst>
          </p:cNvPr>
          <p:cNvSpPr txBox="1"/>
          <p:nvPr/>
        </p:nvSpPr>
        <p:spPr>
          <a:xfrm>
            <a:off x="1797546" y="5734396"/>
            <a:ext cx="8905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</a:rPr>
              <a:t>Time From First Dose of Pembrolizumab (weeks)</a:t>
            </a:r>
          </a:p>
        </p:txBody>
      </p:sp>
      <p:pic>
        <p:nvPicPr>
          <p:cNvPr id="2" name="Picture 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E6453431-2421-6D73-230B-16ADFBF8C8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512" y="629784"/>
            <a:ext cx="9071882" cy="537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640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ZYX">
    <a:dk1>
      <a:srgbClr val="000000"/>
    </a:dk1>
    <a:lt1>
      <a:srgbClr val="FFFFFF"/>
    </a:lt1>
    <a:dk2>
      <a:srgbClr val="4D4D4F"/>
    </a:dk2>
    <a:lt2>
      <a:srgbClr val="FFFFFF"/>
    </a:lt2>
    <a:accent1>
      <a:srgbClr val="E31837"/>
    </a:accent1>
    <a:accent2>
      <a:srgbClr val="2AACE2"/>
    </a:accent2>
    <a:accent3>
      <a:srgbClr val="BFE6F6"/>
    </a:accent3>
    <a:accent4>
      <a:srgbClr val="F48578"/>
    </a:accent4>
    <a:accent5>
      <a:srgbClr val="C0C0C0"/>
    </a:accent5>
    <a:accent6>
      <a:srgbClr val="1D2845"/>
    </a:accent6>
    <a:hlink>
      <a:srgbClr val="8C228A"/>
    </a:hlink>
    <a:folHlink>
      <a:srgbClr val="741836"/>
    </a:folHlink>
  </a:clrScheme>
  <a:fontScheme name="Custom 5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ZYX">
    <a:dk1>
      <a:srgbClr val="000000"/>
    </a:dk1>
    <a:lt1>
      <a:srgbClr val="FFFFFF"/>
    </a:lt1>
    <a:dk2>
      <a:srgbClr val="4D4D4F"/>
    </a:dk2>
    <a:lt2>
      <a:srgbClr val="FFFFFF"/>
    </a:lt2>
    <a:accent1>
      <a:srgbClr val="E31837"/>
    </a:accent1>
    <a:accent2>
      <a:srgbClr val="2AACE2"/>
    </a:accent2>
    <a:accent3>
      <a:srgbClr val="BFE6F6"/>
    </a:accent3>
    <a:accent4>
      <a:srgbClr val="F48578"/>
    </a:accent4>
    <a:accent5>
      <a:srgbClr val="C0C0C0"/>
    </a:accent5>
    <a:accent6>
      <a:srgbClr val="1D2845"/>
    </a:accent6>
    <a:hlink>
      <a:srgbClr val="8C228A"/>
    </a:hlink>
    <a:folHlink>
      <a:srgbClr val="741836"/>
    </a:folHlink>
  </a:clrScheme>
  <a:fontScheme name="Custom 5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moderna 2022">
    <a:dk1>
      <a:srgbClr val="000000"/>
    </a:dk1>
    <a:lt1>
      <a:srgbClr val="FFFFFF"/>
    </a:lt1>
    <a:dk2>
      <a:srgbClr val="4D4D4F"/>
    </a:dk2>
    <a:lt2>
      <a:srgbClr val="FFFFFF"/>
    </a:lt2>
    <a:accent1>
      <a:srgbClr val="E31837"/>
    </a:accent1>
    <a:accent2>
      <a:srgbClr val="2AACE2"/>
    </a:accent2>
    <a:accent3>
      <a:srgbClr val="BFE6F6"/>
    </a:accent3>
    <a:accent4>
      <a:srgbClr val="F48578"/>
    </a:accent4>
    <a:accent5>
      <a:srgbClr val="1E2846"/>
    </a:accent5>
    <a:accent6>
      <a:srgbClr val="C0C0C0"/>
    </a:accent6>
    <a:hlink>
      <a:srgbClr val="8C228A"/>
    </a:hlink>
    <a:folHlink>
      <a:srgbClr val="741836"/>
    </a:folHlink>
  </a:clrScheme>
  <a:fontScheme name="Custom 5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5c73d39-0213-462f-ae19-6e5ded4cedc3">
      <Terms xmlns="http://schemas.microsoft.com/office/infopath/2007/PartnerControls"/>
    </lcf76f155ced4ddcb4097134ff3c332f>
    <TaxCatchAll xmlns="b296ba47-fa2e-4595-9277-39a83a540ac2" xsi:nil="true"/>
    <SharedWithUsers xmlns="b296ba47-fa2e-4595-9277-39a83a540ac2">
      <UserInfo>
        <DisplayName>Robert Meehan</DisplayName>
        <AccountId>18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CA120D486C5F4FBDECDD1EB445EDE8" ma:contentTypeVersion="14" ma:contentTypeDescription="Create a new document." ma:contentTypeScope="" ma:versionID="5c7cb0571125663160d188c51e65ad03">
  <xsd:schema xmlns:xsd="http://www.w3.org/2001/XMLSchema" xmlns:xs="http://www.w3.org/2001/XMLSchema" xmlns:p="http://schemas.microsoft.com/office/2006/metadata/properties" xmlns:ns2="75c73d39-0213-462f-ae19-6e5ded4cedc3" xmlns:ns3="b296ba47-fa2e-4595-9277-39a83a540ac2" targetNamespace="http://schemas.microsoft.com/office/2006/metadata/properties" ma:root="true" ma:fieldsID="bd30b32657550103a50499a04a64b754" ns2:_="" ns3:_="">
    <xsd:import namespace="75c73d39-0213-462f-ae19-6e5ded4cedc3"/>
    <xsd:import namespace="b296ba47-fa2e-4595-9277-39a83a540a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c73d39-0213-462f-ae19-6e5ded4ced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b0b4f79f-4c75-47d6-b259-fa03be50bda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96ba47-fa2e-4595-9277-39a83a540ac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0b49fb5d-c591-4b59-9d4a-8becf5c40cb4}" ma:internalName="TaxCatchAll" ma:showField="CatchAllData" ma:web="b296ba47-fa2e-4595-9277-39a83a540ac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9E9856E-368C-4F3C-A697-2DE3BFE5299F}">
  <ds:schemaRefs>
    <ds:schemaRef ds:uri="75c73d39-0213-462f-ae19-6e5ded4cedc3"/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b296ba47-fa2e-4595-9277-39a83a540ac2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1895637-9E61-4E93-9A50-982C859A6083}">
  <ds:schemaRefs>
    <ds:schemaRef ds:uri="75c73d39-0213-462f-ae19-6e5ded4cedc3"/>
    <ds:schemaRef ds:uri="b296ba47-fa2e-4595-9277-39a83a540ac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9C91D00-EA3F-4FC6-BD21-4C983AF52E4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 Moderna Template</Template>
  <TotalTime>4</TotalTime>
  <Words>4148</Words>
  <Application>Microsoft Office PowerPoint</Application>
  <PresentationFormat>Widescreen</PresentationFormat>
  <Paragraphs>686</Paragraphs>
  <Slides>16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Arial</vt:lpstr>
      <vt:lpstr>Calibri</vt:lpstr>
      <vt:lpstr>Calibri Light</vt:lpstr>
      <vt:lpstr>Century Gothic</vt:lpstr>
      <vt:lpstr>Courier New</vt:lpstr>
      <vt:lpstr>Segoe UI</vt:lpstr>
      <vt:lpstr>Verdana</vt:lpstr>
      <vt:lpstr>Wingdings</vt:lpstr>
      <vt:lpstr>1_Office Theme</vt:lpstr>
      <vt:lpstr>think-cell Slide</vt:lpstr>
      <vt:lpstr>Distant Metastasis-Free Survival Results From  the Randomized, Phase 2 mRNA-4157-P201/ KEYNOTE-942 Trial</vt:lpstr>
      <vt:lpstr>Adjuvant ICI Therapy and DMFS in High-risk Melanoma</vt:lpstr>
      <vt:lpstr>mRNA-4157 (V940) Mechanism of Action</vt:lpstr>
      <vt:lpstr>mRNA-4157-P201/KEYNOTE-942 (NCT03897881) Study Design</vt:lpstr>
      <vt:lpstr>mRNA-4157-P201/KEYNOTE-942 Patient Demographics</vt:lpstr>
      <vt:lpstr>Primary Efficacy Endpoint: RFS1</vt:lpstr>
      <vt:lpstr>Secondary Efficacy Endpoint: DMFS</vt:lpstr>
      <vt:lpstr>Recurrence Type and Distant Recurrence Location</vt:lpstr>
      <vt:lpstr>Longitudinal Pattern of DMFS Events During and After Treatment Completion</vt:lpstr>
      <vt:lpstr>DMFS by ctDNA Status at Baseline</vt:lpstr>
      <vt:lpstr>mRNA-4157-P201/KEYNOTE-942 Safety and Tolerability1</vt:lpstr>
      <vt:lpstr>mRNA-4157-P201/KEYNOTE-942 Safety and Tolerability</vt:lpstr>
      <vt:lpstr>Next Steps</vt:lpstr>
      <vt:lpstr>Conclusions</vt:lpstr>
      <vt:lpstr>Acknowledgments</vt:lpstr>
      <vt:lpstr>THANK YOU</vt:lpstr>
    </vt:vector>
  </TitlesOfParts>
  <Company>Moderna Us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slide  headline</dc:title>
  <dc:creator>Annie Finkenbinder Best</dc:creator>
  <cp:lastModifiedBy>Khattak, Adnan</cp:lastModifiedBy>
  <cp:revision>3</cp:revision>
  <dcterms:created xsi:type="dcterms:W3CDTF">2023-03-02T20:46:54Z</dcterms:created>
  <dcterms:modified xsi:type="dcterms:W3CDTF">2023-05-26T00:1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CA120D486C5F4FBDECDD1EB445EDE8</vt:lpwstr>
  </property>
  <property fmtid="{D5CDD505-2E9C-101B-9397-08002B2CF9AE}" pid="3" name="MediaServiceImageTags">
    <vt:lpwstr/>
  </property>
</Properties>
</file>